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16.xml" ContentType="application/vnd.openxmlformats-officedocument.presentationml.tags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17.xml" ContentType="application/vnd.openxmlformats-officedocument.presentationml.tags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85" r:id="rId3"/>
    <p:sldId id="296" r:id="rId4"/>
    <p:sldId id="297" r:id="rId5"/>
    <p:sldId id="312" r:id="rId6"/>
    <p:sldId id="284" r:id="rId7"/>
    <p:sldId id="295" r:id="rId8"/>
    <p:sldId id="294" r:id="rId9"/>
    <p:sldId id="287" r:id="rId10"/>
    <p:sldId id="302" r:id="rId11"/>
    <p:sldId id="301" r:id="rId12"/>
    <p:sldId id="309" r:id="rId13"/>
    <p:sldId id="304" r:id="rId14"/>
    <p:sldId id="305" r:id="rId15"/>
    <p:sldId id="288" r:id="rId16"/>
    <p:sldId id="289" r:id="rId17"/>
    <p:sldId id="307" r:id="rId18"/>
    <p:sldId id="306" r:id="rId19"/>
    <p:sldId id="291" r:id="rId20"/>
    <p:sldId id="308" r:id="rId21"/>
    <p:sldId id="314" r:id="rId22"/>
    <p:sldId id="313" r:id="rId23"/>
    <p:sldId id="292" r:id="rId24"/>
    <p:sldId id="311" r:id="rId25"/>
    <p:sldId id="310" r:id="rId26"/>
    <p:sldId id="298" r:id="rId27"/>
    <p:sldId id="299" r:id="rId28"/>
    <p:sldId id="300" r:id="rId29"/>
    <p:sldId id="286" r:id="rId3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lando Martinez" initials="RM" lastIdx="1" clrIdx="0">
    <p:extLst>
      <p:ext uri="{19B8F6BF-5375-455C-9EA6-DF929625EA0E}">
        <p15:presenceInfo xmlns:p15="http://schemas.microsoft.com/office/powerpoint/2012/main" userId="S::rolando.martinez@steinsvik.cl::b369a6e9-9cbd-40af-a830-7b442d3fd7d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853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678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3041DF2-159B-4292-B8A1-A8ADC56546D7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BA75B92D-AF2D-4263-9199-6F245494B7FD}">
      <dgm:prSet phldrT="[Texto]"/>
      <dgm:spPr/>
      <dgm:t>
        <a:bodyPr/>
        <a:lstStyle/>
        <a:p>
          <a:r>
            <a:rPr lang="es-ES" dirty="0"/>
            <a:t>Definición de modelo</a:t>
          </a:r>
          <a:endParaRPr lang="en-GB" dirty="0"/>
        </a:p>
      </dgm:t>
    </dgm:pt>
    <dgm:pt modelId="{E37CC12F-4D37-488D-A458-135536733347}" type="parTrans" cxnId="{1C98EF0E-6FE9-4251-9EBF-EAC1E6F66F1A}">
      <dgm:prSet/>
      <dgm:spPr/>
      <dgm:t>
        <a:bodyPr/>
        <a:lstStyle/>
        <a:p>
          <a:endParaRPr lang="en-GB"/>
        </a:p>
      </dgm:t>
    </dgm:pt>
    <dgm:pt modelId="{AA964B51-342A-4AB9-B910-CB064C31E298}" type="sibTrans" cxnId="{1C98EF0E-6FE9-4251-9EBF-EAC1E6F66F1A}">
      <dgm:prSet/>
      <dgm:spPr/>
      <dgm:t>
        <a:bodyPr/>
        <a:lstStyle/>
        <a:p>
          <a:endParaRPr lang="en-GB"/>
        </a:p>
      </dgm:t>
    </dgm:pt>
    <dgm:pt modelId="{174723B3-EF49-45D3-B586-8DDA791949E6}">
      <dgm:prSet phldrT="[Texto]"/>
      <dgm:spPr/>
      <dgm:t>
        <a:bodyPr/>
        <a:lstStyle/>
        <a:p>
          <a:r>
            <a:rPr lang="es-ES" dirty="0"/>
            <a:t>Creación de migración</a:t>
          </a:r>
          <a:endParaRPr lang="en-GB" dirty="0"/>
        </a:p>
      </dgm:t>
    </dgm:pt>
    <dgm:pt modelId="{3B051867-D939-45D2-A222-35B2C4D80B68}" type="parTrans" cxnId="{F309BDB6-DA7F-48F6-BD80-304D5698AC33}">
      <dgm:prSet/>
      <dgm:spPr/>
      <dgm:t>
        <a:bodyPr/>
        <a:lstStyle/>
        <a:p>
          <a:endParaRPr lang="en-GB"/>
        </a:p>
      </dgm:t>
    </dgm:pt>
    <dgm:pt modelId="{241D92C2-6380-44B2-A32C-D43AA9CBF2E1}" type="sibTrans" cxnId="{F309BDB6-DA7F-48F6-BD80-304D5698AC33}">
      <dgm:prSet/>
      <dgm:spPr/>
      <dgm:t>
        <a:bodyPr/>
        <a:lstStyle/>
        <a:p>
          <a:endParaRPr lang="en-GB"/>
        </a:p>
      </dgm:t>
    </dgm:pt>
    <dgm:pt modelId="{0E99D633-8F2D-47D2-869C-91B017ED28BC}">
      <dgm:prSet phldrT="[Texto]"/>
      <dgm:spPr/>
      <dgm:t>
        <a:bodyPr/>
        <a:lstStyle/>
        <a:p>
          <a:r>
            <a:rPr lang="es-ES" dirty="0"/>
            <a:t>Aplicar Migración</a:t>
          </a:r>
          <a:endParaRPr lang="en-GB" dirty="0"/>
        </a:p>
      </dgm:t>
    </dgm:pt>
    <dgm:pt modelId="{2A32CC2F-3DFE-4A86-9AB1-0595F1736C5F}" type="parTrans" cxnId="{B399EAEC-CAB4-49C9-A13D-5183CBFE8882}">
      <dgm:prSet/>
      <dgm:spPr/>
      <dgm:t>
        <a:bodyPr/>
        <a:lstStyle/>
        <a:p>
          <a:endParaRPr lang="en-GB"/>
        </a:p>
      </dgm:t>
    </dgm:pt>
    <dgm:pt modelId="{C6297988-659A-4132-98B2-B4F292C7CA5D}" type="sibTrans" cxnId="{B399EAEC-CAB4-49C9-A13D-5183CBFE8882}">
      <dgm:prSet/>
      <dgm:spPr/>
      <dgm:t>
        <a:bodyPr/>
        <a:lstStyle/>
        <a:p>
          <a:endParaRPr lang="en-GB"/>
        </a:p>
      </dgm:t>
    </dgm:pt>
    <dgm:pt modelId="{D2A0B5EB-F419-4DFF-B601-C52826C8DD01}" type="pres">
      <dgm:prSet presAssocID="{63041DF2-159B-4292-B8A1-A8ADC56546D7}" presName="Name0" presStyleCnt="0">
        <dgm:presLayoutVars>
          <dgm:dir/>
          <dgm:animLvl val="lvl"/>
          <dgm:resizeHandles val="exact"/>
        </dgm:presLayoutVars>
      </dgm:prSet>
      <dgm:spPr/>
    </dgm:pt>
    <dgm:pt modelId="{3088E546-D537-4F80-B275-882DD5099F01}" type="pres">
      <dgm:prSet presAssocID="{BA75B92D-AF2D-4263-9199-6F245494B7FD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9709D93-752A-42A6-A6F1-E55CFF17F355}" type="pres">
      <dgm:prSet presAssocID="{AA964B51-342A-4AB9-B910-CB064C31E298}" presName="parTxOnlySpace" presStyleCnt="0"/>
      <dgm:spPr/>
    </dgm:pt>
    <dgm:pt modelId="{0A590A2C-AB1F-4752-8EC1-54846EB1405B}" type="pres">
      <dgm:prSet presAssocID="{174723B3-EF49-45D3-B586-8DDA791949E6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22F3EFD-6A09-4E95-8145-59EF8C55EB18}" type="pres">
      <dgm:prSet presAssocID="{241D92C2-6380-44B2-A32C-D43AA9CBF2E1}" presName="parTxOnlySpace" presStyleCnt="0"/>
      <dgm:spPr/>
    </dgm:pt>
    <dgm:pt modelId="{480D76AB-66AB-4F05-BA5E-E9D5F4FBA5B7}" type="pres">
      <dgm:prSet presAssocID="{0E99D633-8F2D-47D2-869C-91B017ED28BC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F309BDB6-DA7F-48F6-BD80-304D5698AC33}" srcId="{63041DF2-159B-4292-B8A1-A8ADC56546D7}" destId="{174723B3-EF49-45D3-B586-8DDA791949E6}" srcOrd="1" destOrd="0" parTransId="{3B051867-D939-45D2-A222-35B2C4D80B68}" sibTransId="{241D92C2-6380-44B2-A32C-D43AA9CBF2E1}"/>
    <dgm:cxn modelId="{BA735A97-9C82-4711-A6DB-640035922E6E}" type="presOf" srcId="{63041DF2-159B-4292-B8A1-A8ADC56546D7}" destId="{D2A0B5EB-F419-4DFF-B601-C52826C8DD01}" srcOrd="0" destOrd="0" presId="urn:microsoft.com/office/officeart/2005/8/layout/chevron1"/>
    <dgm:cxn modelId="{B399EAEC-CAB4-49C9-A13D-5183CBFE8882}" srcId="{63041DF2-159B-4292-B8A1-A8ADC56546D7}" destId="{0E99D633-8F2D-47D2-869C-91B017ED28BC}" srcOrd="2" destOrd="0" parTransId="{2A32CC2F-3DFE-4A86-9AB1-0595F1736C5F}" sibTransId="{C6297988-659A-4132-98B2-B4F292C7CA5D}"/>
    <dgm:cxn modelId="{6C952A32-969B-44A6-A33F-806440A8A259}" type="presOf" srcId="{BA75B92D-AF2D-4263-9199-6F245494B7FD}" destId="{3088E546-D537-4F80-B275-882DD5099F01}" srcOrd="0" destOrd="0" presId="urn:microsoft.com/office/officeart/2005/8/layout/chevron1"/>
    <dgm:cxn modelId="{37323A62-F7C4-4B96-ADBA-5E8FCBA03EA8}" type="presOf" srcId="{0E99D633-8F2D-47D2-869C-91B017ED28BC}" destId="{480D76AB-66AB-4F05-BA5E-E9D5F4FBA5B7}" srcOrd="0" destOrd="0" presId="urn:microsoft.com/office/officeart/2005/8/layout/chevron1"/>
    <dgm:cxn modelId="{1C98EF0E-6FE9-4251-9EBF-EAC1E6F66F1A}" srcId="{63041DF2-159B-4292-B8A1-A8ADC56546D7}" destId="{BA75B92D-AF2D-4263-9199-6F245494B7FD}" srcOrd="0" destOrd="0" parTransId="{E37CC12F-4D37-488D-A458-135536733347}" sibTransId="{AA964B51-342A-4AB9-B910-CB064C31E298}"/>
    <dgm:cxn modelId="{0A5BCF25-6D16-4D8F-A6F8-923573AFC982}" type="presOf" srcId="{174723B3-EF49-45D3-B586-8DDA791949E6}" destId="{0A590A2C-AB1F-4752-8EC1-54846EB1405B}" srcOrd="0" destOrd="0" presId="urn:microsoft.com/office/officeart/2005/8/layout/chevron1"/>
    <dgm:cxn modelId="{90D09B4D-B984-42A8-8050-A014E3574767}" type="presParOf" srcId="{D2A0B5EB-F419-4DFF-B601-C52826C8DD01}" destId="{3088E546-D537-4F80-B275-882DD5099F01}" srcOrd="0" destOrd="0" presId="urn:microsoft.com/office/officeart/2005/8/layout/chevron1"/>
    <dgm:cxn modelId="{D6A26E73-1D72-4552-9F91-494B5801C65D}" type="presParOf" srcId="{D2A0B5EB-F419-4DFF-B601-C52826C8DD01}" destId="{19709D93-752A-42A6-A6F1-E55CFF17F355}" srcOrd="1" destOrd="0" presId="urn:microsoft.com/office/officeart/2005/8/layout/chevron1"/>
    <dgm:cxn modelId="{B8294AB4-072C-4494-81AF-14ABD023E107}" type="presParOf" srcId="{D2A0B5EB-F419-4DFF-B601-C52826C8DD01}" destId="{0A590A2C-AB1F-4752-8EC1-54846EB1405B}" srcOrd="2" destOrd="0" presId="urn:microsoft.com/office/officeart/2005/8/layout/chevron1"/>
    <dgm:cxn modelId="{92EF164F-B80F-4E07-BAF2-8F621E13FD62}" type="presParOf" srcId="{D2A0B5EB-F419-4DFF-B601-C52826C8DD01}" destId="{322F3EFD-6A09-4E95-8145-59EF8C55EB18}" srcOrd="3" destOrd="0" presId="urn:microsoft.com/office/officeart/2005/8/layout/chevron1"/>
    <dgm:cxn modelId="{C74E195D-2A3C-476D-9615-AF82198F82D6}" type="presParOf" srcId="{D2A0B5EB-F419-4DFF-B601-C52826C8DD01}" destId="{480D76AB-66AB-4F05-BA5E-E9D5F4FBA5B7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3041DF2-159B-4292-B8A1-A8ADC56546D7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BA75B92D-AF2D-4263-9199-6F245494B7FD}">
      <dgm:prSet phldrT="[Texto]"/>
      <dgm:spPr/>
      <dgm:t>
        <a:bodyPr/>
        <a:lstStyle/>
        <a:p>
          <a:r>
            <a:rPr lang="es-ES" dirty="0"/>
            <a:t>Base de datos</a:t>
          </a:r>
          <a:endParaRPr lang="en-GB" dirty="0"/>
        </a:p>
      </dgm:t>
    </dgm:pt>
    <dgm:pt modelId="{E37CC12F-4D37-488D-A458-135536733347}" type="parTrans" cxnId="{1C98EF0E-6FE9-4251-9EBF-EAC1E6F66F1A}">
      <dgm:prSet/>
      <dgm:spPr/>
      <dgm:t>
        <a:bodyPr/>
        <a:lstStyle/>
        <a:p>
          <a:endParaRPr lang="en-GB"/>
        </a:p>
      </dgm:t>
    </dgm:pt>
    <dgm:pt modelId="{AA964B51-342A-4AB9-B910-CB064C31E298}" type="sibTrans" cxnId="{1C98EF0E-6FE9-4251-9EBF-EAC1E6F66F1A}">
      <dgm:prSet/>
      <dgm:spPr/>
      <dgm:t>
        <a:bodyPr/>
        <a:lstStyle/>
        <a:p>
          <a:endParaRPr lang="en-GB"/>
        </a:p>
      </dgm:t>
    </dgm:pt>
    <dgm:pt modelId="{174723B3-EF49-45D3-B586-8DDA791949E6}">
      <dgm:prSet phldrT="[Texto]"/>
      <dgm:spPr/>
      <dgm:t>
        <a:bodyPr/>
        <a:lstStyle/>
        <a:p>
          <a:r>
            <a:rPr lang="es-ES" dirty="0"/>
            <a:t>EF Core</a:t>
          </a:r>
          <a:endParaRPr lang="en-GB" dirty="0"/>
        </a:p>
      </dgm:t>
    </dgm:pt>
    <dgm:pt modelId="{3B051867-D939-45D2-A222-35B2C4D80B68}" type="parTrans" cxnId="{F309BDB6-DA7F-48F6-BD80-304D5698AC33}">
      <dgm:prSet/>
      <dgm:spPr/>
      <dgm:t>
        <a:bodyPr/>
        <a:lstStyle/>
        <a:p>
          <a:endParaRPr lang="en-GB"/>
        </a:p>
      </dgm:t>
    </dgm:pt>
    <dgm:pt modelId="{241D92C2-6380-44B2-A32C-D43AA9CBF2E1}" type="sibTrans" cxnId="{F309BDB6-DA7F-48F6-BD80-304D5698AC33}">
      <dgm:prSet/>
      <dgm:spPr/>
      <dgm:t>
        <a:bodyPr/>
        <a:lstStyle/>
        <a:p>
          <a:endParaRPr lang="en-GB"/>
        </a:p>
      </dgm:t>
    </dgm:pt>
    <dgm:pt modelId="{0E99D633-8F2D-47D2-869C-91B017ED28BC}">
      <dgm:prSet phldrT="[Texto]"/>
      <dgm:spPr/>
      <dgm:t>
        <a:bodyPr/>
        <a:lstStyle/>
        <a:p>
          <a:r>
            <a:rPr lang="es-ES" dirty="0"/>
            <a:t>Entidades</a:t>
          </a:r>
          <a:endParaRPr lang="en-GB" dirty="0"/>
        </a:p>
      </dgm:t>
    </dgm:pt>
    <dgm:pt modelId="{2A32CC2F-3DFE-4A86-9AB1-0595F1736C5F}" type="parTrans" cxnId="{B399EAEC-CAB4-49C9-A13D-5183CBFE8882}">
      <dgm:prSet/>
      <dgm:spPr/>
      <dgm:t>
        <a:bodyPr/>
        <a:lstStyle/>
        <a:p>
          <a:endParaRPr lang="en-GB"/>
        </a:p>
      </dgm:t>
    </dgm:pt>
    <dgm:pt modelId="{C6297988-659A-4132-98B2-B4F292C7CA5D}" type="sibTrans" cxnId="{B399EAEC-CAB4-49C9-A13D-5183CBFE8882}">
      <dgm:prSet/>
      <dgm:spPr/>
      <dgm:t>
        <a:bodyPr/>
        <a:lstStyle/>
        <a:p>
          <a:endParaRPr lang="en-GB"/>
        </a:p>
      </dgm:t>
    </dgm:pt>
    <dgm:pt modelId="{142E6170-758F-48A1-9275-9670A71BA9BB}">
      <dgm:prSet phldrT="[Texto]"/>
      <dgm:spPr/>
      <dgm:t>
        <a:bodyPr/>
        <a:lstStyle/>
        <a:p>
          <a:r>
            <a:rPr lang="es-ES" dirty="0"/>
            <a:t>Crear nueva migraciones</a:t>
          </a:r>
          <a:endParaRPr lang="en-GB" dirty="0"/>
        </a:p>
      </dgm:t>
    </dgm:pt>
    <dgm:pt modelId="{31C6773D-742C-4A48-86D4-0426707C9341}" type="parTrans" cxnId="{1E0B6D65-0F68-4952-85CA-9A1A1CBB92FB}">
      <dgm:prSet/>
      <dgm:spPr/>
      <dgm:t>
        <a:bodyPr/>
        <a:lstStyle/>
        <a:p>
          <a:endParaRPr lang="en-GB"/>
        </a:p>
      </dgm:t>
    </dgm:pt>
    <dgm:pt modelId="{2D735DB2-91B0-4A4A-BFAD-54B14270B25F}" type="sibTrans" cxnId="{1E0B6D65-0F68-4952-85CA-9A1A1CBB92FB}">
      <dgm:prSet/>
      <dgm:spPr/>
      <dgm:t>
        <a:bodyPr/>
        <a:lstStyle/>
        <a:p>
          <a:endParaRPr lang="en-GB"/>
        </a:p>
      </dgm:t>
    </dgm:pt>
    <dgm:pt modelId="{D2A0B5EB-F419-4DFF-B601-C52826C8DD01}" type="pres">
      <dgm:prSet presAssocID="{63041DF2-159B-4292-B8A1-A8ADC56546D7}" presName="Name0" presStyleCnt="0">
        <dgm:presLayoutVars>
          <dgm:dir/>
          <dgm:animLvl val="lvl"/>
          <dgm:resizeHandles val="exact"/>
        </dgm:presLayoutVars>
      </dgm:prSet>
      <dgm:spPr/>
    </dgm:pt>
    <dgm:pt modelId="{3088E546-D537-4F80-B275-882DD5099F01}" type="pres">
      <dgm:prSet presAssocID="{BA75B92D-AF2D-4263-9199-6F245494B7FD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9709D93-752A-42A6-A6F1-E55CFF17F355}" type="pres">
      <dgm:prSet presAssocID="{AA964B51-342A-4AB9-B910-CB064C31E298}" presName="parTxOnlySpace" presStyleCnt="0"/>
      <dgm:spPr/>
    </dgm:pt>
    <dgm:pt modelId="{0A590A2C-AB1F-4752-8EC1-54846EB1405B}" type="pres">
      <dgm:prSet presAssocID="{174723B3-EF49-45D3-B586-8DDA791949E6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22F3EFD-6A09-4E95-8145-59EF8C55EB18}" type="pres">
      <dgm:prSet presAssocID="{241D92C2-6380-44B2-A32C-D43AA9CBF2E1}" presName="parTxOnlySpace" presStyleCnt="0"/>
      <dgm:spPr/>
    </dgm:pt>
    <dgm:pt modelId="{480D76AB-66AB-4F05-BA5E-E9D5F4FBA5B7}" type="pres">
      <dgm:prSet presAssocID="{0E99D633-8F2D-47D2-869C-91B017ED28BC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917380E-46A2-49C2-89FD-D24A36C54B4F}" type="pres">
      <dgm:prSet presAssocID="{C6297988-659A-4132-98B2-B4F292C7CA5D}" presName="parTxOnlySpace" presStyleCnt="0"/>
      <dgm:spPr/>
    </dgm:pt>
    <dgm:pt modelId="{B5826648-720D-4643-8BF1-6811B2A59A01}" type="pres">
      <dgm:prSet presAssocID="{142E6170-758F-48A1-9275-9670A71BA9BB}" presName="parTxOnly" presStyleLbl="node1" presStyleIdx="3" presStyleCnt="4" custLinFactNeighborX="-10313" custLinFactNeighborY="-300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37323A62-F7C4-4B96-ADBA-5E8FCBA03EA8}" type="presOf" srcId="{0E99D633-8F2D-47D2-869C-91B017ED28BC}" destId="{480D76AB-66AB-4F05-BA5E-E9D5F4FBA5B7}" srcOrd="0" destOrd="0" presId="urn:microsoft.com/office/officeart/2005/8/layout/chevron1"/>
    <dgm:cxn modelId="{F309BDB6-DA7F-48F6-BD80-304D5698AC33}" srcId="{63041DF2-159B-4292-B8A1-A8ADC56546D7}" destId="{174723B3-EF49-45D3-B586-8DDA791949E6}" srcOrd="1" destOrd="0" parTransId="{3B051867-D939-45D2-A222-35B2C4D80B68}" sibTransId="{241D92C2-6380-44B2-A32C-D43AA9CBF2E1}"/>
    <dgm:cxn modelId="{1C98EF0E-6FE9-4251-9EBF-EAC1E6F66F1A}" srcId="{63041DF2-159B-4292-B8A1-A8ADC56546D7}" destId="{BA75B92D-AF2D-4263-9199-6F245494B7FD}" srcOrd="0" destOrd="0" parTransId="{E37CC12F-4D37-488D-A458-135536733347}" sibTransId="{AA964B51-342A-4AB9-B910-CB064C31E298}"/>
    <dgm:cxn modelId="{BA735A97-9C82-4711-A6DB-640035922E6E}" type="presOf" srcId="{63041DF2-159B-4292-B8A1-A8ADC56546D7}" destId="{D2A0B5EB-F419-4DFF-B601-C52826C8DD01}" srcOrd="0" destOrd="0" presId="urn:microsoft.com/office/officeart/2005/8/layout/chevron1"/>
    <dgm:cxn modelId="{EF1DE2CD-8A55-47C9-8E6A-D4A61F7D1D54}" type="presOf" srcId="{142E6170-758F-48A1-9275-9670A71BA9BB}" destId="{B5826648-720D-4643-8BF1-6811B2A59A01}" srcOrd="0" destOrd="0" presId="urn:microsoft.com/office/officeart/2005/8/layout/chevron1"/>
    <dgm:cxn modelId="{B399EAEC-CAB4-49C9-A13D-5183CBFE8882}" srcId="{63041DF2-159B-4292-B8A1-A8ADC56546D7}" destId="{0E99D633-8F2D-47D2-869C-91B017ED28BC}" srcOrd="2" destOrd="0" parTransId="{2A32CC2F-3DFE-4A86-9AB1-0595F1736C5F}" sibTransId="{C6297988-659A-4132-98B2-B4F292C7CA5D}"/>
    <dgm:cxn modelId="{1E0B6D65-0F68-4952-85CA-9A1A1CBB92FB}" srcId="{63041DF2-159B-4292-B8A1-A8ADC56546D7}" destId="{142E6170-758F-48A1-9275-9670A71BA9BB}" srcOrd="3" destOrd="0" parTransId="{31C6773D-742C-4A48-86D4-0426707C9341}" sibTransId="{2D735DB2-91B0-4A4A-BFAD-54B14270B25F}"/>
    <dgm:cxn modelId="{0A5BCF25-6D16-4D8F-A6F8-923573AFC982}" type="presOf" srcId="{174723B3-EF49-45D3-B586-8DDA791949E6}" destId="{0A590A2C-AB1F-4752-8EC1-54846EB1405B}" srcOrd="0" destOrd="0" presId="urn:microsoft.com/office/officeart/2005/8/layout/chevron1"/>
    <dgm:cxn modelId="{6C952A32-969B-44A6-A33F-806440A8A259}" type="presOf" srcId="{BA75B92D-AF2D-4263-9199-6F245494B7FD}" destId="{3088E546-D537-4F80-B275-882DD5099F01}" srcOrd="0" destOrd="0" presId="urn:microsoft.com/office/officeart/2005/8/layout/chevron1"/>
    <dgm:cxn modelId="{90D09B4D-B984-42A8-8050-A014E3574767}" type="presParOf" srcId="{D2A0B5EB-F419-4DFF-B601-C52826C8DD01}" destId="{3088E546-D537-4F80-B275-882DD5099F01}" srcOrd="0" destOrd="0" presId="urn:microsoft.com/office/officeart/2005/8/layout/chevron1"/>
    <dgm:cxn modelId="{D6A26E73-1D72-4552-9F91-494B5801C65D}" type="presParOf" srcId="{D2A0B5EB-F419-4DFF-B601-C52826C8DD01}" destId="{19709D93-752A-42A6-A6F1-E55CFF17F355}" srcOrd="1" destOrd="0" presId="urn:microsoft.com/office/officeart/2005/8/layout/chevron1"/>
    <dgm:cxn modelId="{B8294AB4-072C-4494-81AF-14ABD023E107}" type="presParOf" srcId="{D2A0B5EB-F419-4DFF-B601-C52826C8DD01}" destId="{0A590A2C-AB1F-4752-8EC1-54846EB1405B}" srcOrd="2" destOrd="0" presId="urn:microsoft.com/office/officeart/2005/8/layout/chevron1"/>
    <dgm:cxn modelId="{92EF164F-B80F-4E07-BAF2-8F621E13FD62}" type="presParOf" srcId="{D2A0B5EB-F419-4DFF-B601-C52826C8DD01}" destId="{322F3EFD-6A09-4E95-8145-59EF8C55EB18}" srcOrd="3" destOrd="0" presId="urn:microsoft.com/office/officeart/2005/8/layout/chevron1"/>
    <dgm:cxn modelId="{C74E195D-2A3C-476D-9615-AF82198F82D6}" type="presParOf" srcId="{D2A0B5EB-F419-4DFF-B601-C52826C8DD01}" destId="{480D76AB-66AB-4F05-BA5E-E9D5F4FBA5B7}" srcOrd="4" destOrd="0" presId="urn:microsoft.com/office/officeart/2005/8/layout/chevron1"/>
    <dgm:cxn modelId="{744CF9CC-9B08-4278-B17D-19EF3D47BEC8}" type="presParOf" srcId="{D2A0B5EB-F419-4DFF-B601-C52826C8DD01}" destId="{1917380E-46A2-49C2-89FD-D24A36C54B4F}" srcOrd="5" destOrd="0" presId="urn:microsoft.com/office/officeart/2005/8/layout/chevron1"/>
    <dgm:cxn modelId="{5717B138-9B3F-4AB3-AF93-9CD201EDD371}" type="presParOf" srcId="{D2A0B5EB-F419-4DFF-B601-C52826C8DD01}" destId="{B5826648-720D-4643-8BF1-6811B2A59A0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3041DF2-159B-4292-B8A1-A8ADC56546D7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BA75B92D-AF2D-4263-9199-6F245494B7FD}">
      <dgm:prSet phldrT="[Texto]"/>
      <dgm:spPr/>
      <dgm:t>
        <a:bodyPr/>
        <a:lstStyle/>
        <a:p>
          <a:r>
            <a:rPr lang="es-ES" dirty="0"/>
            <a:t>Instancia nueva entidad</a:t>
          </a:r>
          <a:endParaRPr lang="en-GB" dirty="0"/>
        </a:p>
      </dgm:t>
    </dgm:pt>
    <dgm:pt modelId="{E37CC12F-4D37-488D-A458-135536733347}" type="parTrans" cxnId="{1C98EF0E-6FE9-4251-9EBF-EAC1E6F66F1A}">
      <dgm:prSet/>
      <dgm:spPr/>
      <dgm:t>
        <a:bodyPr/>
        <a:lstStyle/>
        <a:p>
          <a:endParaRPr lang="en-GB"/>
        </a:p>
      </dgm:t>
    </dgm:pt>
    <dgm:pt modelId="{AA964B51-342A-4AB9-B910-CB064C31E298}" type="sibTrans" cxnId="{1C98EF0E-6FE9-4251-9EBF-EAC1E6F66F1A}">
      <dgm:prSet/>
      <dgm:spPr/>
      <dgm:t>
        <a:bodyPr/>
        <a:lstStyle/>
        <a:p>
          <a:endParaRPr lang="en-GB"/>
        </a:p>
      </dgm:t>
    </dgm:pt>
    <dgm:pt modelId="{174723B3-EF49-45D3-B586-8DDA791949E6}">
      <dgm:prSet phldrT="[Texto]"/>
      <dgm:spPr/>
      <dgm:t>
        <a:bodyPr/>
        <a:lstStyle/>
        <a:p>
          <a:r>
            <a:rPr lang="es-ES" dirty="0"/>
            <a:t>Se agrega al contexto</a:t>
          </a:r>
          <a:endParaRPr lang="en-GB" dirty="0"/>
        </a:p>
      </dgm:t>
    </dgm:pt>
    <dgm:pt modelId="{3B051867-D939-45D2-A222-35B2C4D80B68}" type="parTrans" cxnId="{F309BDB6-DA7F-48F6-BD80-304D5698AC33}">
      <dgm:prSet/>
      <dgm:spPr/>
      <dgm:t>
        <a:bodyPr/>
        <a:lstStyle/>
        <a:p>
          <a:endParaRPr lang="en-GB"/>
        </a:p>
      </dgm:t>
    </dgm:pt>
    <dgm:pt modelId="{241D92C2-6380-44B2-A32C-D43AA9CBF2E1}" type="sibTrans" cxnId="{F309BDB6-DA7F-48F6-BD80-304D5698AC33}">
      <dgm:prSet/>
      <dgm:spPr/>
      <dgm:t>
        <a:bodyPr/>
        <a:lstStyle/>
        <a:p>
          <a:endParaRPr lang="en-GB"/>
        </a:p>
      </dgm:t>
    </dgm:pt>
    <dgm:pt modelId="{0E99D633-8F2D-47D2-869C-91B017ED28BC}">
      <dgm:prSet phldrT="[Texto]"/>
      <dgm:spPr/>
      <dgm:t>
        <a:bodyPr/>
        <a:lstStyle/>
        <a:p>
          <a:r>
            <a:rPr lang="es-ES" dirty="0" err="1"/>
            <a:t>Context.SaveChanges</a:t>
          </a:r>
          <a:r>
            <a:rPr lang="es-ES" dirty="0"/>
            <a:t>()</a:t>
          </a:r>
          <a:endParaRPr lang="en-GB" dirty="0"/>
        </a:p>
      </dgm:t>
    </dgm:pt>
    <dgm:pt modelId="{2A32CC2F-3DFE-4A86-9AB1-0595F1736C5F}" type="parTrans" cxnId="{B399EAEC-CAB4-49C9-A13D-5183CBFE8882}">
      <dgm:prSet/>
      <dgm:spPr/>
      <dgm:t>
        <a:bodyPr/>
        <a:lstStyle/>
        <a:p>
          <a:endParaRPr lang="en-GB"/>
        </a:p>
      </dgm:t>
    </dgm:pt>
    <dgm:pt modelId="{C6297988-659A-4132-98B2-B4F292C7CA5D}" type="sibTrans" cxnId="{B399EAEC-CAB4-49C9-A13D-5183CBFE8882}">
      <dgm:prSet/>
      <dgm:spPr/>
      <dgm:t>
        <a:bodyPr/>
        <a:lstStyle/>
        <a:p>
          <a:endParaRPr lang="en-GB"/>
        </a:p>
      </dgm:t>
    </dgm:pt>
    <dgm:pt modelId="{D2A0B5EB-F419-4DFF-B601-C52826C8DD01}" type="pres">
      <dgm:prSet presAssocID="{63041DF2-159B-4292-B8A1-A8ADC56546D7}" presName="Name0" presStyleCnt="0">
        <dgm:presLayoutVars>
          <dgm:dir/>
          <dgm:animLvl val="lvl"/>
          <dgm:resizeHandles val="exact"/>
        </dgm:presLayoutVars>
      </dgm:prSet>
      <dgm:spPr/>
    </dgm:pt>
    <dgm:pt modelId="{3088E546-D537-4F80-B275-882DD5099F01}" type="pres">
      <dgm:prSet presAssocID="{BA75B92D-AF2D-4263-9199-6F245494B7FD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9709D93-752A-42A6-A6F1-E55CFF17F355}" type="pres">
      <dgm:prSet presAssocID="{AA964B51-342A-4AB9-B910-CB064C31E298}" presName="parTxOnlySpace" presStyleCnt="0"/>
      <dgm:spPr/>
    </dgm:pt>
    <dgm:pt modelId="{0A590A2C-AB1F-4752-8EC1-54846EB1405B}" type="pres">
      <dgm:prSet presAssocID="{174723B3-EF49-45D3-B586-8DDA791949E6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22F3EFD-6A09-4E95-8145-59EF8C55EB18}" type="pres">
      <dgm:prSet presAssocID="{241D92C2-6380-44B2-A32C-D43AA9CBF2E1}" presName="parTxOnlySpace" presStyleCnt="0"/>
      <dgm:spPr/>
    </dgm:pt>
    <dgm:pt modelId="{480D76AB-66AB-4F05-BA5E-E9D5F4FBA5B7}" type="pres">
      <dgm:prSet presAssocID="{0E99D633-8F2D-47D2-869C-91B017ED28BC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F309BDB6-DA7F-48F6-BD80-304D5698AC33}" srcId="{63041DF2-159B-4292-B8A1-A8ADC56546D7}" destId="{174723B3-EF49-45D3-B586-8DDA791949E6}" srcOrd="1" destOrd="0" parTransId="{3B051867-D939-45D2-A222-35B2C4D80B68}" sibTransId="{241D92C2-6380-44B2-A32C-D43AA9CBF2E1}"/>
    <dgm:cxn modelId="{BA735A97-9C82-4711-A6DB-640035922E6E}" type="presOf" srcId="{63041DF2-159B-4292-B8A1-A8ADC56546D7}" destId="{D2A0B5EB-F419-4DFF-B601-C52826C8DD01}" srcOrd="0" destOrd="0" presId="urn:microsoft.com/office/officeart/2005/8/layout/chevron1"/>
    <dgm:cxn modelId="{B399EAEC-CAB4-49C9-A13D-5183CBFE8882}" srcId="{63041DF2-159B-4292-B8A1-A8ADC56546D7}" destId="{0E99D633-8F2D-47D2-869C-91B017ED28BC}" srcOrd="2" destOrd="0" parTransId="{2A32CC2F-3DFE-4A86-9AB1-0595F1736C5F}" sibTransId="{C6297988-659A-4132-98B2-B4F292C7CA5D}"/>
    <dgm:cxn modelId="{6C952A32-969B-44A6-A33F-806440A8A259}" type="presOf" srcId="{BA75B92D-AF2D-4263-9199-6F245494B7FD}" destId="{3088E546-D537-4F80-B275-882DD5099F01}" srcOrd="0" destOrd="0" presId="urn:microsoft.com/office/officeart/2005/8/layout/chevron1"/>
    <dgm:cxn modelId="{37323A62-F7C4-4B96-ADBA-5E8FCBA03EA8}" type="presOf" srcId="{0E99D633-8F2D-47D2-869C-91B017ED28BC}" destId="{480D76AB-66AB-4F05-BA5E-E9D5F4FBA5B7}" srcOrd="0" destOrd="0" presId="urn:microsoft.com/office/officeart/2005/8/layout/chevron1"/>
    <dgm:cxn modelId="{1C98EF0E-6FE9-4251-9EBF-EAC1E6F66F1A}" srcId="{63041DF2-159B-4292-B8A1-A8ADC56546D7}" destId="{BA75B92D-AF2D-4263-9199-6F245494B7FD}" srcOrd="0" destOrd="0" parTransId="{E37CC12F-4D37-488D-A458-135536733347}" sibTransId="{AA964B51-342A-4AB9-B910-CB064C31E298}"/>
    <dgm:cxn modelId="{0A5BCF25-6D16-4D8F-A6F8-923573AFC982}" type="presOf" srcId="{174723B3-EF49-45D3-B586-8DDA791949E6}" destId="{0A590A2C-AB1F-4752-8EC1-54846EB1405B}" srcOrd="0" destOrd="0" presId="urn:microsoft.com/office/officeart/2005/8/layout/chevron1"/>
    <dgm:cxn modelId="{90D09B4D-B984-42A8-8050-A014E3574767}" type="presParOf" srcId="{D2A0B5EB-F419-4DFF-B601-C52826C8DD01}" destId="{3088E546-D537-4F80-B275-882DD5099F01}" srcOrd="0" destOrd="0" presId="urn:microsoft.com/office/officeart/2005/8/layout/chevron1"/>
    <dgm:cxn modelId="{D6A26E73-1D72-4552-9F91-494B5801C65D}" type="presParOf" srcId="{D2A0B5EB-F419-4DFF-B601-C52826C8DD01}" destId="{19709D93-752A-42A6-A6F1-E55CFF17F355}" srcOrd="1" destOrd="0" presId="urn:microsoft.com/office/officeart/2005/8/layout/chevron1"/>
    <dgm:cxn modelId="{B8294AB4-072C-4494-81AF-14ABD023E107}" type="presParOf" srcId="{D2A0B5EB-F419-4DFF-B601-C52826C8DD01}" destId="{0A590A2C-AB1F-4752-8EC1-54846EB1405B}" srcOrd="2" destOrd="0" presId="urn:microsoft.com/office/officeart/2005/8/layout/chevron1"/>
    <dgm:cxn modelId="{92EF164F-B80F-4E07-BAF2-8F621E13FD62}" type="presParOf" srcId="{D2A0B5EB-F419-4DFF-B601-C52826C8DD01}" destId="{322F3EFD-6A09-4E95-8145-59EF8C55EB18}" srcOrd="3" destOrd="0" presId="urn:microsoft.com/office/officeart/2005/8/layout/chevron1"/>
    <dgm:cxn modelId="{C74E195D-2A3C-476D-9615-AF82198F82D6}" type="presParOf" srcId="{D2A0B5EB-F419-4DFF-B601-C52826C8DD01}" destId="{480D76AB-66AB-4F05-BA5E-E9D5F4FBA5B7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3041DF2-159B-4292-B8A1-A8ADC56546D7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BA75B92D-AF2D-4263-9199-6F245494B7FD}">
      <dgm:prSet phldrT="[Texto]"/>
      <dgm:spPr/>
      <dgm:t>
        <a:bodyPr/>
        <a:lstStyle/>
        <a:p>
          <a:r>
            <a:rPr lang="es-ES" dirty="0"/>
            <a:t>Se carga la entidad al contexto</a:t>
          </a:r>
          <a:endParaRPr lang="en-GB" dirty="0"/>
        </a:p>
      </dgm:t>
    </dgm:pt>
    <dgm:pt modelId="{E37CC12F-4D37-488D-A458-135536733347}" type="parTrans" cxnId="{1C98EF0E-6FE9-4251-9EBF-EAC1E6F66F1A}">
      <dgm:prSet/>
      <dgm:spPr/>
      <dgm:t>
        <a:bodyPr/>
        <a:lstStyle/>
        <a:p>
          <a:endParaRPr lang="en-GB"/>
        </a:p>
      </dgm:t>
    </dgm:pt>
    <dgm:pt modelId="{AA964B51-342A-4AB9-B910-CB064C31E298}" type="sibTrans" cxnId="{1C98EF0E-6FE9-4251-9EBF-EAC1E6F66F1A}">
      <dgm:prSet/>
      <dgm:spPr/>
      <dgm:t>
        <a:bodyPr/>
        <a:lstStyle/>
        <a:p>
          <a:endParaRPr lang="en-GB"/>
        </a:p>
      </dgm:t>
    </dgm:pt>
    <dgm:pt modelId="{174723B3-EF49-45D3-B586-8DDA791949E6}">
      <dgm:prSet phldrT="[Texto]"/>
      <dgm:spPr/>
      <dgm:t>
        <a:bodyPr/>
        <a:lstStyle/>
        <a:p>
          <a:r>
            <a:rPr lang="es-ES" dirty="0"/>
            <a:t>Se actualizan los campos</a:t>
          </a:r>
          <a:endParaRPr lang="en-GB" dirty="0"/>
        </a:p>
      </dgm:t>
    </dgm:pt>
    <dgm:pt modelId="{3B051867-D939-45D2-A222-35B2C4D80B68}" type="parTrans" cxnId="{F309BDB6-DA7F-48F6-BD80-304D5698AC33}">
      <dgm:prSet/>
      <dgm:spPr/>
      <dgm:t>
        <a:bodyPr/>
        <a:lstStyle/>
        <a:p>
          <a:endParaRPr lang="en-GB"/>
        </a:p>
      </dgm:t>
    </dgm:pt>
    <dgm:pt modelId="{241D92C2-6380-44B2-A32C-D43AA9CBF2E1}" type="sibTrans" cxnId="{F309BDB6-DA7F-48F6-BD80-304D5698AC33}">
      <dgm:prSet/>
      <dgm:spPr/>
      <dgm:t>
        <a:bodyPr/>
        <a:lstStyle/>
        <a:p>
          <a:endParaRPr lang="en-GB"/>
        </a:p>
      </dgm:t>
    </dgm:pt>
    <dgm:pt modelId="{0E99D633-8F2D-47D2-869C-91B017ED28BC}">
      <dgm:prSet phldrT="[Texto]"/>
      <dgm:spPr/>
      <dgm:t>
        <a:bodyPr/>
        <a:lstStyle/>
        <a:p>
          <a:r>
            <a:rPr lang="es-ES" dirty="0" err="1"/>
            <a:t>Context.SaveChanges</a:t>
          </a:r>
          <a:r>
            <a:rPr lang="es-ES" dirty="0"/>
            <a:t>()</a:t>
          </a:r>
          <a:endParaRPr lang="en-GB" dirty="0"/>
        </a:p>
      </dgm:t>
    </dgm:pt>
    <dgm:pt modelId="{2A32CC2F-3DFE-4A86-9AB1-0595F1736C5F}" type="parTrans" cxnId="{B399EAEC-CAB4-49C9-A13D-5183CBFE8882}">
      <dgm:prSet/>
      <dgm:spPr/>
      <dgm:t>
        <a:bodyPr/>
        <a:lstStyle/>
        <a:p>
          <a:endParaRPr lang="en-GB"/>
        </a:p>
      </dgm:t>
    </dgm:pt>
    <dgm:pt modelId="{C6297988-659A-4132-98B2-B4F292C7CA5D}" type="sibTrans" cxnId="{B399EAEC-CAB4-49C9-A13D-5183CBFE8882}">
      <dgm:prSet/>
      <dgm:spPr/>
      <dgm:t>
        <a:bodyPr/>
        <a:lstStyle/>
        <a:p>
          <a:endParaRPr lang="en-GB"/>
        </a:p>
      </dgm:t>
    </dgm:pt>
    <dgm:pt modelId="{D2A0B5EB-F419-4DFF-B601-C52826C8DD01}" type="pres">
      <dgm:prSet presAssocID="{63041DF2-159B-4292-B8A1-A8ADC56546D7}" presName="Name0" presStyleCnt="0">
        <dgm:presLayoutVars>
          <dgm:dir/>
          <dgm:animLvl val="lvl"/>
          <dgm:resizeHandles val="exact"/>
        </dgm:presLayoutVars>
      </dgm:prSet>
      <dgm:spPr/>
    </dgm:pt>
    <dgm:pt modelId="{3088E546-D537-4F80-B275-882DD5099F01}" type="pres">
      <dgm:prSet presAssocID="{BA75B92D-AF2D-4263-9199-6F245494B7FD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9709D93-752A-42A6-A6F1-E55CFF17F355}" type="pres">
      <dgm:prSet presAssocID="{AA964B51-342A-4AB9-B910-CB064C31E298}" presName="parTxOnlySpace" presStyleCnt="0"/>
      <dgm:spPr/>
    </dgm:pt>
    <dgm:pt modelId="{0A590A2C-AB1F-4752-8EC1-54846EB1405B}" type="pres">
      <dgm:prSet presAssocID="{174723B3-EF49-45D3-B586-8DDA791949E6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22F3EFD-6A09-4E95-8145-59EF8C55EB18}" type="pres">
      <dgm:prSet presAssocID="{241D92C2-6380-44B2-A32C-D43AA9CBF2E1}" presName="parTxOnlySpace" presStyleCnt="0"/>
      <dgm:spPr/>
    </dgm:pt>
    <dgm:pt modelId="{480D76AB-66AB-4F05-BA5E-E9D5F4FBA5B7}" type="pres">
      <dgm:prSet presAssocID="{0E99D633-8F2D-47D2-869C-91B017ED28BC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F309BDB6-DA7F-48F6-BD80-304D5698AC33}" srcId="{63041DF2-159B-4292-B8A1-A8ADC56546D7}" destId="{174723B3-EF49-45D3-B586-8DDA791949E6}" srcOrd="1" destOrd="0" parTransId="{3B051867-D939-45D2-A222-35B2C4D80B68}" sibTransId="{241D92C2-6380-44B2-A32C-D43AA9CBF2E1}"/>
    <dgm:cxn modelId="{BA735A97-9C82-4711-A6DB-640035922E6E}" type="presOf" srcId="{63041DF2-159B-4292-B8A1-A8ADC56546D7}" destId="{D2A0B5EB-F419-4DFF-B601-C52826C8DD01}" srcOrd="0" destOrd="0" presId="urn:microsoft.com/office/officeart/2005/8/layout/chevron1"/>
    <dgm:cxn modelId="{B399EAEC-CAB4-49C9-A13D-5183CBFE8882}" srcId="{63041DF2-159B-4292-B8A1-A8ADC56546D7}" destId="{0E99D633-8F2D-47D2-869C-91B017ED28BC}" srcOrd="2" destOrd="0" parTransId="{2A32CC2F-3DFE-4A86-9AB1-0595F1736C5F}" sibTransId="{C6297988-659A-4132-98B2-B4F292C7CA5D}"/>
    <dgm:cxn modelId="{6C952A32-969B-44A6-A33F-806440A8A259}" type="presOf" srcId="{BA75B92D-AF2D-4263-9199-6F245494B7FD}" destId="{3088E546-D537-4F80-B275-882DD5099F01}" srcOrd="0" destOrd="0" presId="urn:microsoft.com/office/officeart/2005/8/layout/chevron1"/>
    <dgm:cxn modelId="{37323A62-F7C4-4B96-ADBA-5E8FCBA03EA8}" type="presOf" srcId="{0E99D633-8F2D-47D2-869C-91B017ED28BC}" destId="{480D76AB-66AB-4F05-BA5E-E9D5F4FBA5B7}" srcOrd="0" destOrd="0" presId="urn:microsoft.com/office/officeart/2005/8/layout/chevron1"/>
    <dgm:cxn modelId="{1C98EF0E-6FE9-4251-9EBF-EAC1E6F66F1A}" srcId="{63041DF2-159B-4292-B8A1-A8ADC56546D7}" destId="{BA75B92D-AF2D-4263-9199-6F245494B7FD}" srcOrd="0" destOrd="0" parTransId="{E37CC12F-4D37-488D-A458-135536733347}" sibTransId="{AA964B51-342A-4AB9-B910-CB064C31E298}"/>
    <dgm:cxn modelId="{0A5BCF25-6D16-4D8F-A6F8-923573AFC982}" type="presOf" srcId="{174723B3-EF49-45D3-B586-8DDA791949E6}" destId="{0A590A2C-AB1F-4752-8EC1-54846EB1405B}" srcOrd="0" destOrd="0" presId="urn:microsoft.com/office/officeart/2005/8/layout/chevron1"/>
    <dgm:cxn modelId="{90D09B4D-B984-42A8-8050-A014E3574767}" type="presParOf" srcId="{D2A0B5EB-F419-4DFF-B601-C52826C8DD01}" destId="{3088E546-D537-4F80-B275-882DD5099F01}" srcOrd="0" destOrd="0" presId="urn:microsoft.com/office/officeart/2005/8/layout/chevron1"/>
    <dgm:cxn modelId="{D6A26E73-1D72-4552-9F91-494B5801C65D}" type="presParOf" srcId="{D2A0B5EB-F419-4DFF-B601-C52826C8DD01}" destId="{19709D93-752A-42A6-A6F1-E55CFF17F355}" srcOrd="1" destOrd="0" presId="urn:microsoft.com/office/officeart/2005/8/layout/chevron1"/>
    <dgm:cxn modelId="{B8294AB4-072C-4494-81AF-14ABD023E107}" type="presParOf" srcId="{D2A0B5EB-F419-4DFF-B601-C52826C8DD01}" destId="{0A590A2C-AB1F-4752-8EC1-54846EB1405B}" srcOrd="2" destOrd="0" presId="urn:microsoft.com/office/officeart/2005/8/layout/chevron1"/>
    <dgm:cxn modelId="{92EF164F-B80F-4E07-BAF2-8F621E13FD62}" type="presParOf" srcId="{D2A0B5EB-F419-4DFF-B601-C52826C8DD01}" destId="{322F3EFD-6A09-4E95-8145-59EF8C55EB18}" srcOrd="3" destOrd="0" presId="urn:microsoft.com/office/officeart/2005/8/layout/chevron1"/>
    <dgm:cxn modelId="{C74E195D-2A3C-476D-9615-AF82198F82D6}" type="presParOf" srcId="{D2A0B5EB-F419-4DFF-B601-C52826C8DD01}" destId="{480D76AB-66AB-4F05-BA5E-E9D5F4FBA5B7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3041DF2-159B-4292-B8A1-A8ADC56546D7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BA75B92D-AF2D-4263-9199-6F245494B7FD}">
      <dgm:prSet phldrT="[Texto]"/>
      <dgm:spPr/>
      <dgm:t>
        <a:bodyPr/>
        <a:lstStyle/>
        <a:p>
          <a:r>
            <a:rPr lang="es-ES" dirty="0"/>
            <a:t>Se carga la entidad al contexto</a:t>
          </a:r>
          <a:endParaRPr lang="en-GB" dirty="0"/>
        </a:p>
      </dgm:t>
    </dgm:pt>
    <dgm:pt modelId="{E37CC12F-4D37-488D-A458-135536733347}" type="parTrans" cxnId="{1C98EF0E-6FE9-4251-9EBF-EAC1E6F66F1A}">
      <dgm:prSet/>
      <dgm:spPr/>
      <dgm:t>
        <a:bodyPr/>
        <a:lstStyle/>
        <a:p>
          <a:endParaRPr lang="en-GB"/>
        </a:p>
      </dgm:t>
    </dgm:pt>
    <dgm:pt modelId="{AA964B51-342A-4AB9-B910-CB064C31E298}" type="sibTrans" cxnId="{1C98EF0E-6FE9-4251-9EBF-EAC1E6F66F1A}">
      <dgm:prSet/>
      <dgm:spPr/>
      <dgm:t>
        <a:bodyPr/>
        <a:lstStyle/>
        <a:p>
          <a:endParaRPr lang="en-GB"/>
        </a:p>
      </dgm:t>
    </dgm:pt>
    <dgm:pt modelId="{174723B3-EF49-45D3-B586-8DDA791949E6}">
      <dgm:prSet phldrT="[Texto]"/>
      <dgm:spPr/>
      <dgm:t>
        <a:bodyPr/>
        <a:lstStyle/>
        <a:p>
          <a:r>
            <a:rPr lang="es-ES" dirty="0"/>
            <a:t>Se marca como borrada</a:t>
          </a:r>
          <a:endParaRPr lang="en-GB" dirty="0"/>
        </a:p>
      </dgm:t>
    </dgm:pt>
    <dgm:pt modelId="{3B051867-D939-45D2-A222-35B2C4D80B68}" type="parTrans" cxnId="{F309BDB6-DA7F-48F6-BD80-304D5698AC33}">
      <dgm:prSet/>
      <dgm:spPr/>
      <dgm:t>
        <a:bodyPr/>
        <a:lstStyle/>
        <a:p>
          <a:endParaRPr lang="en-GB"/>
        </a:p>
      </dgm:t>
    </dgm:pt>
    <dgm:pt modelId="{241D92C2-6380-44B2-A32C-D43AA9CBF2E1}" type="sibTrans" cxnId="{F309BDB6-DA7F-48F6-BD80-304D5698AC33}">
      <dgm:prSet/>
      <dgm:spPr/>
      <dgm:t>
        <a:bodyPr/>
        <a:lstStyle/>
        <a:p>
          <a:endParaRPr lang="en-GB"/>
        </a:p>
      </dgm:t>
    </dgm:pt>
    <dgm:pt modelId="{0E99D633-8F2D-47D2-869C-91B017ED28BC}">
      <dgm:prSet phldrT="[Texto]"/>
      <dgm:spPr/>
      <dgm:t>
        <a:bodyPr/>
        <a:lstStyle/>
        <a:p>
          <a:r>
            <a:rPr lang="es-ES" dirty="0" err="1"/>
            <a:t>Context.SaveChanges</a:t>
          </a:r>
          <a:r>
            <a:rPr lang="es-ES" dirty="0"/>
            <a:t>()</a:t>
          </a:r>
          <a:endParaRPr lang="en-GB" dirty="0"/>
        </a:p>
      </dgm:t>
    </dgm:pt>
    <dgm:pt modelId="{2A32CC2F-3DFE-4A86-9AB1-0595F1736C5F}" type="parTrans" cxnId="{B399EAEC-CAB4-49C9-A13D-5183CBFE8882}">
      <dgm:prSet/>
      <dgm:spPr/>
      <dgm:t>
        <a:bodyPr/>
        <a:lstStyle/>
        <a:p>
          <a:endParaRPr lang="en-GB"/>
        </a:p>
      </dgm:t>
    </dgm:pt>
    <dgm:pt modelId="{C6297988-659A-4132-98B2-B4F292C7CA5D}" type="sibTrans" cxnId="{B399EAEC-CAB4-49C9-A13D-5183CBFE8882}">
      <dgm:prSet/>
      <dgm:spPr/>
      <dgm:t>
        <a:bodyPr/>
        <a:lstStyle/>
        <a:p>
          <a:endParaRPr lang="en-GB"/>
        </a:p>
      </dgm:t>
    </dgm:pt>
    <dgm:pt modelId="{D2A0B5EB-F419-4DFF-B601-C52826C8DD01}" type="pres">
      <dgm:prSet presAssocID="{63041DF2-159B-4292-B8A1-A8ADC56546D7}" presName="Name0" presStyleCnt="0">
        <dgm:presLayoutVars>
          <dgm:dir/>
          <dgm:animLvl val="lvl"/>
          <dgm:resizeHandles val="exact"/>
        </dgm:presLayoutVars>
      </dgm:prSet>
      <dgm:spPr/>
    </dgm:pt>
    <dgm:pt modelId="{3088E546-D537-4F80-B275-882DD5099F01}" type="pres">
      <dgm:prSet presAssocID="{BA75B92D-AF2D-4263-9199-6F245494B7FD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9709D93-752A-42A6-A6F1-E55CFF17F355}" type="pres">
      <dgm:prSet presAssocID="{AA964B51-342A-4AB9-B910-CB064C31E298}" presName="parTxOnlySpace" presStyleCnt="0"/>
      <dgm:spPr/>
    </dgm:pt>
    <dgm:pt modelId="{0A590A2C-AB1F-4752-8EC1-54846EB1405B}" type="pres">
      <dgm:prSet presAssocID="{174723B3-EF49-45D3-B586-8DDA791949E6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22F3EFD-6A09-4E95-8145-59EF8C55EB18}" type="pres">
      <dgm:prSet presAssocID="{241D92C2-6380-44B2-A32C-D43AA9CBF2E1}" presName="parTxOnlySpace" presStyleCnt="0"/>
      <dgm:spPr/>
    </dgm:pt>
    <dgm:pt modelId="{480D76AB-66AB-4F05-BA5E-E9D5F4FBA5B7}" type="pres">
      <dgm:prSet presAssocID="{0E99D633-8F2D-47D2-869C-91B017ED28BC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F309BDB6-DA7F-48F6-BD80-304D5698AC33}" srcId="{63041DF2-159B-4292-B8A1-A8ADC56546D7}" destId="{174723B3-EF49-45D3-B586-8DDA791949E6}" srcOrd="1" destOrd="0" parTransId="{3B051867-D939-45D2-A222-35B2C4D80B68}" sibTransId="{241D92C2-6380-44B2-A32C-D43AA9CBF2E1}"/>
    <dgm:cxn modelId="{BA735A97-9C82-4711-A6DB-640035922E6E}" type="presOf" srcId="{63041DF2-159B-4292-B8A1-A8ADC56546D7}" destId="{D2A0B5EB-F419-4DFF-B601-C52826C8DD01}" srcOrd="0" destOrd="0" presId="urn:microsoft.com/office/officeart/2005/8/layout/chevron1"/>
    <dgm:cxn modelId="{B399EAEC-CAB4-49C9-A13D-5183CBFE8882}" srcId="{63041DF2-159B-4292-B8A1-A8ADC56546D7}" destId="{0E99D633-8F2D-47D2-869C-91B017ED28BC}" srcOrd="2" destOrd="0" parTransId="{2A32CC2F-3DFE-4A86-9AB1-0595F1736C5F}" sibTransId="{C6297988-659A-4132-98B2-B4F292C7CA5D}"/>
    <dgm:cxn modelId="{6C952A32-969B-44A6-A33F-806440A8A259}" type="presOf" srcId="{BA75B92D-AF2D-4263-9199-6F245494B7FD}" destId="{3088E546-D537-4F80-B275-882DD5099F01}" srcOrd="0" destOrd="0" presId="urn:microsoft.com/office/officeart/2005/8/layout/chevron1"/>
    <dgm:cxn modelId="{37323A62-F7C4-4B96-ADBA-5E8FCBA03EA8}" type="presOf" srcId="{0E99D633-8F2D-47D2-869C-91B017ED28BC}" destId="{480D76AB-66AB-4F05-BA5E-E9D5F4FBA5B7}" srcOrd="0" destOrd="0" presId="urn:microsoft.com/office/officeart/2005/8/layout/chevron1"/>
    <dgm:cxn modelId="{1C98EF0E-6FE9-4251-9EBF-EAC1E6F66F1A}" srcId="{63041DF2-159B-4292-B8A1-A8ADC56546D7}" destId="{BA75B92D-AF2D-4263-9199-6F245494B7FD}" srcOrd="0" destOrd="0" parTransId="{E37CC12F-4D37-488D-A458-135536733347}" sibTransId="{AA964B51-342A-4AB9-B910-CB064C31E298}"/>
    <dgm:cxn modelId="{0A5BCF25-6D16-4D8F-A6F8-923573AFC982}" type="presOf" srcId="{174723B3-EF49-45D3-B586-8DDA791949E6}" destId="{0A590A2C-AB1F-4752-8EC1-54846EB1405B}" srcOrd="0" destOrd="0" presId="urn:microsoft.com/office/officeart/2005/8/layout/chevron1"/>
    <dgm:cxn modelId="{90D09B4D-B984-42A8-8050-A014E3574767}" type="presParOf" srcId="{D2A0B5EB-F419-4DFF-B601-C52826C8DD01}" destId="{3088E546-D537-4F80-B275-882DD5099F01}" srcOrd="0" destOrd="0" presId="urn:microsoft.com/office/officeart/2005/8/layout/chevron1"/>
    <dgm:cxn modelId="{D6A26E73-1D72-4552-9F91-494B5801C65D}" type="presParOf" srcId="{D2A0B5EB-F419-4DFF-B601-C52826C8DD01}" destId="{19709D93-752A-42A6-A6F1-E55CFF17F355}" srcOrd="1" destOrd="0" presId="urn:microsoft.com/office/officeart/2005/8/layout/chevron1"/>
    <dgm:cxn modelId="{B8294AB4-072C-4494-81AF-14ABD023E107}" type="presParOf" srcId="{D2A0B5EB-F419-4DFF-B601-C52826C8DD01}" destId="{0A590A2C-AB1F-4752-8EC1-54846EB1405B}" srcOrd="2" destOrd="0" presId="urn:microsoft.com/office/officeart/2005/8/layout/chevron1"/>
    <dgm:cxn modelId="{92EF164F-B80F-4E07-BAF2-8F621E13FD62}" type="presParOf" srcId="{D2A0B5EB-F419-4DFF-B601-C52826C8DD01}" destId="{322F3EFD-6A09-4E95-8145-59EF8C55EB18}" srcOrd="3" destOrd="0" presId="urn:microsoft.com/office/officeart/2005/8/layout/chevron1"/>
    <dgm:cxn modelId="{C74E195D-2A3C-476D-9615-AF82198F82D6}" type="presParOf" srcId="{D2A0B5EB-F419-4DFF-B601-C52826C8DD01}" destId="{480D76AB-66AB-4F05-BA5E-E9D5F4FBA5B7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C6E4D020-F41E-46B2-9E11-DA7410CC46E4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F1B6C0C4-06E8-4066-ADF2-D4C9B22A46BA}">
      <dgm:prSet phldrT="[Texto]" custT="1"/>
      <dgm:spPr/>
      <dgm:t>
        <a:bodyPr/>
        <a:lstStyle/>
        <a:p>
          <a:r>
            <a:rPr lang="es-ES" sz="2400" dirty="0"/>
            <a:t>EF</a:t>
          </a:r>
          <a:r>
            <a:rPr lang="es-ES" sz="4700" dirty="0"/>
            <a:t> </a:t>
          </a:r>
          <a:r>
            <a:rPr lang="es-ES" sz="2400" dirty="0"/>
            <a:t>Core</a:t>
          </a:r>
          <a:endParaRPr lang="en-GB" sz="2400" dirty="0"/>
        </a:p>
      </dgm:t>
    </dgm:pt>
    <dgm:pt modelId="{8137310C-33A7-443A-B29B-9644A42345E5}" type="parTrans" cxnId="{4F9CC3AC-9B62-48E8-B9BD-E3EAE2B968C3}">
      <dgm:prSet/>
      <dgm:spPr/>
      <dgm:t>
        <a:bodyPr/>
        <a:lstStyle/>
        <a:p>
          <a:endParaRPr lang="en-GB"/>
        </a:p>
      </dgm:t>
    </dgm:pt>
    <dgm:pt modelId="{EB2E8210-2762-4C39-B99D-A8E07B024C93}" type="sibTrans" cxnId="{4F9CC3AC-9B62-48E8-B9BD-E3EAE2B968C3}">
      <dgm:prSet/>
      <dgm:spPr/>
      <dgm:t>
        <a:bodyPr/>
        <a:lstStyle/>
        <a:p>
          <a:endParaRPr lang="en-GB"/>
        </a:p>
      </dgm:t>
    </dgm:pt>
    <dgm:pt modelId="{E3296A41-E29E-4044-BF52-A22492F57773}">
      <dgm:prSet phldrT="[Texto]" custT="1"/>
      <dgm:spPr/>
      <dgm:t>
        <a:bodyPr/>
        <a:lstStyle/>
        <a:p>
          <a:r>
            <a:rPr lang="es-ES" sz="2400" dirty="0"/>
            <a:t>EF Core 2</a:t>
          </a:r>
          <a:endParaRPr lang="en-GB" sz="2400" dirty="0"/>
        </a:p>
      </dgm:t>
    </dgm:pt>
    <dgm:pt modelId="{D4FEEFC7-6764-4A0D-8D9D-4419218A5A91}" type="parTrans" cxnId="{6321CADD-BF3C-46EA-8A9E-5D466D7F912B}">
      <dgm:prSet/>
      <dgm:spPr/>
      <dgm:t>
        <a:bodyPr/>
        <a:lstStyle/>
        <a:p>
          <a:endParaRPr lang="en-GB"/>
        </a:p>
      </dgm:t>
    </dgm:pt>
    <dgm:pt modelId="{C97B03D4-2F83-43BD-AE1B-D8B2241B7A71}" type="sibTrans" cxnId="{6321CADD-BF3C-46EA-8A9E-5D466D7F912B}">
      <dgm:prSet/>
      <dgm:spPr/>
      <dgm:t>
        <a:bodyPr/>
        <a:lstStyle/>
        <a:p>
          <a:endParaRPr lang="en-GB"/>
        </a:p>
      </dgm:t>
    </dgm:pt>
    <dgm:pt modelId="{CE2E4E5B-A2AC-43BD-A42F-272DB8CACD97}">
      <dgm:prSet phldrT="[Texto]" custT="1"/>
      <dgm:spPr/>
      <dgm:t>
        <a:bodyPr/>
        <a:lstStyle/>
        <a:p>
          <a:r>
            <a:rPr lang="es-ES" sz="2400" dirty="0"/>
            <a:t>EF Core 3</a:t>
          </a:r>
          <a:endParaRPr lang="en-GB" sz="2400" dirty="0"/>
        </a:p>
      </dgm:t>
    </dgm:pt>
    <dgm:pt modelId="{3B23C815-141E-4B56-8EF5-D326FD365FE2}" type="parTrans" cxnId="{CAB12608-3127-4238-9DF0-15B20B875056}">
      <dgm:prSet/>
      <dgm:spPr/>
      <dgm:t>
        <a:bodyPr/>
        <a:lstStyle/>
        <a:p>
          <a:endParaRPr lang="en-GB"/>
        </a:p>
      </dgm:t>
    </dgm:pt>
    <dgm:pt modelId="{610857B1-8F6D-42FE-94F2-7353363ED460}" type="sibTrans" cxnId="{CAB12608-3127-4238-9DF0-15B20B875056}">
      <dgm:prSet/>
      <dgm:spPr/>
      <dgm:t>
        <a:bodyPr/>
        <a:lstStyle/>
        <a:p>
          <a:endParaRPr lang="en-GB"/>
        </a:p>
      </dgm:t>
    </dgm:pt>
    <dgm:pt modelId="{4BDDBF25-F014-4359-AC48-5098B15897A9}">
      <dgm:prSet phldrT="[Texto]" custT="1"/>
      <dgm:spPr/>
      <dgm:t>
        <a:bodyPr/>
        <a:lstStyle/>
        <a:p>
          <a:r>
            <a:rPr lang="es-ES" sz="2400" dirty="0"/>
            <a:t>EF Core 5</a:t>
          </a:r>
          <a:endParaRPr lang="en-GB" sz="2400" dirty="0"/>
        </a:p>
      </dgm:t>
    </dgm:pt>
    <dgm:pt modelId="{A97003CF-05B1-447B-8B19-DD69E2089939}" type="parTrans" cxnId="{FFCCA8C4-011E-470D-B1FA-DDFA684B0831}">
      <dgm:prSet/>
      <dgm:spPr/>
      <dgm:t>
        <a:bodyPr/>
        <a:lstStyle/>
        <a:p>
          <a:endParaRPr lang="en-GB"/>
        </a:p>
      </dgm:t>
    </dgm:pt>
    <dgm:pt modelId="{7DABB175-803F-4485-A534-EA4025641086}" type="sibTrans" cxnId="{FFCCA8C4-011E-470D-B1FA-DDFA684B0831}">
      <dgm:prSet/>
      <dgm:spPr/>
      <dgm:t>
        <a:bodyPr/>
        <a:lstStyle/>
        <a:p>
          <a:endParaRPr lang="en-GB"/>
        </a:p>
      </dgm:t>
    </dgm:pt>
    <dgm:pt modelId="{1BC7C01D-68C3-4C94-A559-FA0ACFD8DD89}" type="pres">
      <dgm:prSet presAssocID="{C6E4D020-F41E-46B2-9E11-DA7410CC46E4}" presName="Name0" presStyleCnt="0">
        <dgm:presLayoutVars>
          <dgm:dir/>
          <dgm:resizeHandles val="exact"/>
        </dgm:presLayoutVars>
      </dgm:prSet>
      <dgm:spPr/>
    </dgm:pt>
    <dgm:pt modelId="{17C7ECF1-CEAA-4CF0-BCB6-9BEA8C234660}" type="pres">
      <dgm:prSet presAssocID="{F1B6C0C4-06E8-4066-ADF2-D4C9B22A46BA}" presName="parTxOnly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7975343E-E591-41B6-B870-9AF503A5E311}" type="pres">
      <dgm:prSet presAssocID="{EB2E8210-2762-4C39-B99D-A8E07B024C93}" presName="parSpace" presStyleCnt="0"/>
      <dgm:spPr/>
    </dgm:pt>
    <dgm:pt modelId="{6BF27BB4-C98A-4EF7-8801-D0C431F2A8EA}" type="pres">
      <dgm:prSet presAssocID="{E3296A41-E29E-4044-BF52-A22492F57773}" presName="parTxOnly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29544566-28E9-4547-82A9-83712DAF38BA}" type="pres">
      <dgm:prSet presAssocID="{C97B03D4-2F83-43BD-AE1B-D8B2241B7A71}" presName="parSpace" presStyleCnt="0"/>
      <dgm:spPr/>
    </dgm:pt>
    <dgm:pt modelId="{E49B3D08-B9BF-4A6F-87E6-6FB4A7F8B234}" type="pres">
      <dgm:prSet presAssocID="{CE2E4E5B-A2AC-43BD-A42F-272DB8CACD97}" presName="parTxOnly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4C8F608-F5CF-4D71-AAEE-9FA234E3C701}" type="pres">
      <dgm:prSet presAssocID="{610857B1-8F6D-42FE-94F2-7353363ED460}" presName="parSpace" presStyleCnt="0"/>
      <dgm:spPr/>
    </dgm:pt>
    <dgm:pt modelId="{47BE1404-F74E-44C3-9E28-9AFA3C39BFE4}" type="pres">
      <dgm:prSet presAssocID="{4BDDBF25-F014-4359-AC48-5098B15897A9}" presName="parTxOnly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A1CAFE07-ACFC-4437-BC74-CC48F049756B}" type="presOf" srcId="{E3296A41-E29E-4044-BF52-A22492F57773}" destId="{6BF27BB4-C98A-4EF7-8801-D0C431F2A8EA}" srcOrd="0" destOrd="0" presId="urn:microsoft.com/office/officeart/2005/8/layout/hChevron3"/>
    <dgm:cxn modelId="{FFCCA8C4-011E-470D-B1FA-DDFA684B0831}" srcId="{C6E4D020-F41E-46B2-9E11-DA7410CC46E4}" destId="{4BDDBF25-F014-4359-AC48-5098B15897A9}" srcOrd="3" destOrd="0" parTransId="{A97003CF-05B1-447B-8B19-DD69E2089939}" sibTransId="{7DABB175-803F-4485-A534-EA4025641086}"/>
    <dgm:cxn modelId="{CAB12608-3127-4238-9DF0-15B20B875056}" srcId="{C6E4D020-F41E-46B2-9E11-DA7410CC46E4}" destId="{CE2E4E5B-A2AC-43BD-A42F-272DB8CACD97}" srcOrd="2" destOrd="0" parTransId="{3B23C815-141E-4B56-8EF5-D326FD365FE2}" sibTransId="{610857B1-8F6D-42FE-94F2-7353363ED460}"/>
    <dgm:cxn modelId="{6321CADD-BF3C-46EA-8A9E-5D466D7F912B}" srcId="{C6E4D020-F41E-46B2-9E11-DA7410CC46E4}" destId="{E3296A41-E29E-4044-BF52-A22492F57773}" srcOrd="1" destOrd="0" parTransId="{D4FEEFC7-6764-4A0D-8D9D-4419218A5A91}" sibTransId="{C97B03D4-2F83-43BD-AE1B-D8B2241B7A71}"/>
    <dgm:cxn modelId="{F02BEBAB-6F27-4C0F-BBDF-7159AEA672FF}" type="presOf" srcId="{4BDDBF25-F014-4359-AC48-5098B15897A9}" destId="{47BE1404-F74E-44C3-9E28-9AFA3C39BFE4}" srcOrd="0" destOrd="0" presId="urn:microsoft.com/office/officeart/2005/8/layout/hChevron3"/>
    <dgm:cxn modelId="{75736CF0-4112-4C24-9174-37E0EE8A457B}" type="presOf" srcId="{F1B6C0C4-06E8-4066-ADF2-D4C9B22A46BA}" destId="{17C7ECF1-CEAA-4CF0-BCB6-9BEA8C234660}" srcOrd="0" destOrd="0" presId="urn:microsoft.com/office/officeart/2005/8/layout/hChevron3"/>
    <dgm:cxn modelId="{5CB87252-C693-4F1B-BFA6-A63C4394AE43}" type="presOf" srcId="{C6E4D020-F41E-46B2-9E11-DA7410CC46E4}" destId="{1BC7C01D-68C3-4C94-A559-FA0ACFD8DD89}" srcOrd="0" destOrd="0" presId="urn:microsoft.com/office/officeart/2005/8/layout/hChevron3"/>
    <dgm:cxn modelId="{4F9CC3AC-9B62-48E8-B9BD-E3EAE2B968C3}" srcId="{C6E4D020-F41E-46B2-9E11-DA7410CC46E4}" destId="{F1B6C0C4-06E8-4066-ADF2-D4C9B22A46BA}" srcOrd="0" destOrd="0" parTransId="{8137310C-33A7-443A-B29B-9644A42345E5}" sibTransId="{EB2E8210-2762-4C39-B99D-A8E07B024C93}"/>
    <dgm:cxn modelId="{36D802A4-00E2-4391-BFAA-1A943AF6B94C}" type="presOf" srcId="{CE2E4E5B-A2AC-43BD-A42F-272DB8CACD97}" destId="{E49B3D08-B9BF-4A6F-87E6-6FB4A7F8B234}" srcOrd="0" destOrd="0" presId="urn:microsoft.com/office/officeart/2005/8/layout/hChevron3"/>
    <dgm:cxn modelId="{0CE12273-1594-4F41-BB4E-A868B8C3A5CF}" type="presParOf" srcId="{1BC7C01D-68C3-4C94-A559-FA0ACFD8DD89}" destId="{17C7ECF1-CEAA-4CF0-BCB6-9BEA8C234660}" srcOrd="0" destOrd="0" presId="urn:microsoft.com/office/officeart/2005/8/layout/hChevron3"/>
    <dgm:cxn modelId="{573731D1-9857-47A8-AC2D-2D4E5D154A9E}" type="presParOf" srcId="{1BC7C01D-68C3-4C94-A559-FA0ACFD8DD89}" destId="{7975343E-E591-41B6-B870-9AF503A5E311}" srcOrd="1" destOrd="0" presId="urn:microsoft.com/office/officeart/2005/8/layout/hChevron3"/>
    <dgm:cxn modelId="{2D080759-B462-40D5-9089-750C51CE84DC}" type="presParOf" srcId="{1BC7C01D-68C3-4C94-A559-FA0ACFD8DD89}" destId="{6BF27BB4-C98A-4EF7-8801-D0C431F2A8EA}" srcOrd="2" destOrd="0" presId="urn:microsoft.com/office/officeart/2005/8/layout/hChevron3"/>
    <dgm:cxn modelId="{8011D6AD-4E59-4AB5-AF63-A22701CE2342}" type="presParOf" srcId="{1BC7C01D-68C3-4C94-A559-FA0ACFD8DD89}" destId="{29544566-28E9-4547-82A9-83712DAF38BA}" srcOrd="3" destOrd="0" presId="urn:microsoft.com/office/officeart/2005/8/layout/hChevron3"/>
    <dgm:cxn modelId="{CE3D7079-AE42-4C4B-A88F-3C9042A07F7A}" type="presParOf" srcId="{1BC7C01D-68C3-4C94-A559-FA0ACFD8DD89}" destId="{E49B3D08-B9BF-4A6F-87E6-6FB4A7F8B234}" srcOrd="4" destOrd="0" presId="urn:microsoft.com/office/officeart/2005/8/layout/hChevron3"/>
    <dgm:cxn modelId="{E613F46A-07D0-441A-9163-3246438224AE}" type="presParOf" srcId="{1BC7C01D-68C3-4C94-A559-FA0ACFD8DD89}" destId="{14C8F608-F5CF-4D71-AAEE-9FA234E3C701}" srcOrd="5" destOrd="0" presId="urn:microsoft.com/office/officeart/2005/8/layout/hChevron3"/>
    <dgm:cxn modelId="{44009C1C-F967-4F1C-85F8-585EE3B25B8C}" type="presParOf" srcId="{1BC7C01D-68C3-4C94-A559-FA0ACFD8DD89}" destId="{47BE1404-F74E-44C3-9E28-9AFA3C39BFE4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3041DF2-159B-4292-B8A1-A8ADC56546D7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BA75B92D-AF2D-4263-9199-6F245494B7FD}">
      <dgm:prSet phldrT="[Texto]"/>
      <dgm:spPr/>
      <dgm:t>
        <a:bodyPr/>
        <a:lstStyle/>
        <a:p>
          <a:r>
            <a:rPr lang="es-ES" dirty="0" err="1"/>
            <a:t>Conventions</a:t>
          </a:r>
          <a:endParaRPr lang="en-GB" dirty="0"/>
        </a:p>
      </dgm:t>
    </dgm:pt>
    <dgm:pt modelId="{E37CC12F-4D37-488D-A458-135536733347}" type="parTrans" cxnId="{1C98EF0E-6FE9-4251-9EBF-EAC1E6F66F1A}">
      <dgm:prSet/>
      <dgm:spPr/>
      <dgm:t>
        <a:bodyPr/>
        <a:lstStyle/>
        <a:p>
          <a:endParaRPr lang="en-GB"/>
        </a:p>
      </dgm:t>
    </dgm:pt>
    <dgm:pt modelId="{AA964B51-342A-4AB9-B910-CB064C31E298}" type="sibTrans" cxnId="{1C98EF0E-6FE9-4251-9EBF-EAC1E6F66F1A}">
      <dgm:prSet/>
      <dgm:spPr/>
      <dgm:t>
        <a:bodyPr/>
        <a:lstStyle/>
        <a:p>
          <a:endParaRPr lang="en-GB"/>
        </a:p>
      </dgm:t>
    </dgm:pt>
    <dgm:pt modelId="{174723B3-EF49-45D3-B586-8DDA791949E6}">
      <dgm:prSet phldrT="[Texto]"/>
      <dgm:spPr/>
      <dgm:t>
        <a:bodyPr/>
        <a:lstStyle/>
        <a:p>
          <a:r>
            <a:rPr lang="es-ES" dirty="0"/>
            <a:t>Data </a:t>
          </a:r>
          <a:r>
            <a:rPr lang="es-ES" dirty="0" err="1"/>
            <a:t>Annotations</a:t>
          </a:r>
          <a:endParaRPr lang="en-GB" dirty="0"/>
        </a:p>
      </dgm:t>
    </dgm:pt>
    <dgm:pt modelId="{3B051867-D939-45D2-A222-35B2C4D80B68}" type="parTrans" cxnId="{F309BDB6-DA7F-48F6-BD80-304D5698AC33}">
      <dgm:prSet/>
      <dgm:spPr/>
      <dgm:t>
        <a:bodyPr/>
        <a:lstStyle/>
        <a:p>
          <a:endParaRPr lang="en-GB"/>
        </a:p>
      </dgm:t>
    </dgm:pt>
    <dgm:pt modelId="{241D92C2-6380-44B2-A32C-D43AA9CBF2E1}" type="sibTrans" cxnId="{F309BDB6-DA7F-48F6-BD80-304D5698AC33}">
      <dgm:prSet/>
      <dgm:spPr/>
      <dgm:t>
        <a:bodyPr/>
        <a:lstStyle/>
        <a:p>
          <a:endParaRPr lang="en-GB"/>
        </a:p>
      </dgm:t>
    </dgm:pt>
    <dgm:pt modelId="{0E99D633-8F2D-47D2-869C-91B017ED28BC}">
      <dgm:prSet phldrT="[Texto]"/>
      <dgm:spPr/>
      <dgm:t>
        <a:bodyPr/>
        <a:lstStyle/>
        <a:p>
          <a:r>
            <a:rPr lang="es-ES" dirty="0" err="1"/>
            <a:t>Fluent</a:t>
          </a:r>
          <a:r>
            <a:rPr lang="es-ES" dirty="0"/>
            <a:t> Api</a:t>
          </a:r>
          <a:endParaRPr lang="en-GB" dirty="0"/>
        </a:p>
      </dgm:t>
    </dgm:pt>
    <dgm:pt modelId="{2A32CC2F-3DFE-4A86-9AB1-0595F1736C5F}" type="parTrans" cxnId="{B399EAEC-CAB4-49C9-A13D-5183CBFE8882}">
      <dgm:prSet/>
      <dgm:spPr/>
      <dgm:t>
        <a:bodyPr/>
        <a:lstStyle/>
        <a:p>
          <a:endParaRPr lang="en-GB"/>
        </a:p>
      </dgm:t>
    </dgm:pt>
    <dgm:pt modelId="{C6297988-659A-4132-98B2-B4F292C7CA5D}" type="sibTrans" cxnId="{B399EAEC-CAB4-49C9-A13D-5183CBFE8882}">
      <dgm:prSet/>
      <dgm:spPr/>
      <dgm:t>
        <a:bodyPr/>
        <a:lstStyle/>
        <a:p>
          <a:endParaRPr lang="en-GB"/>
        </a:p>
      </dgm:t>
    </dgm:pt>
    <dgm:pt modelId="{D2A0B5EB-F419-4DFF-B601-C52826C8DD01}" type="pres">
      <dgm:prSet presAssocID="{63041DF2-159B-4292-B8A1-A8ADC56546D7}" presName="Name0" presStyleCnt="0">
        <dgm:presLayoutVars>
          <dgm:dir/>
          <dgm:animLvl val="lvl"/>
          <dgm:resizeHandles val="exact"/>
        </dgm:presLayoutVars>
      </dgm:prSet>
      <dgm:spPr/>
    </dgm:pt>
    <dgm:pt modelId="{3088E546-D537-4F80-B275-882DD5099F01}" type="pres">
      <dgm:prSet presAssocID="{BA75B92D-AF2D-4263-9199-6F245494B7FD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9709D93-752A-42A6-A6F1-E55CFF17F355}" type="pres">
      <dgm:prSet presAssocID="{AA964B51-342A-4AB9-B910-CB064C31E298}" presName="parTxOnlySpace" presStyleCnt="0"/>
      <dgm:spPr/>
    </dgm:pt>
    <dgm:pt modelId="{0A590A2C-AB1F-4752-8EC1-54846EB1405B}" type="pres">
      <dgm:prSet presAssocID="{174723B3-EF49-45D3-B586-8DDA791949E6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22F3EFD-6A09-4E95-8145-59EF8C55EB18}" type="pres">
      <dgm:prSet presAssocID="{241D92C2-6380-44B2-A32C-D43AA9CBF2E1}" presName="parTxOnlySpace" presStyleCnt="0"/>
      <dgm:spPr/>
    </dgm:pt>
    <dgm:pt modelId="{480D76AB-66AB-4F05-BA5E-E9D5F4FBA5B7}" type="pres">
      <dgm:prSet presAssocID="{0E99D633-8F2D-47D2-869C-91B017ED28BC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F309BDB6-DA7F-48F6-BD80-304D5698AC33}" srcId="{63041DF2-159B-4292-B8A1-A8ADC56546D7}" destId="{174723B3-EF49-45D3-B586-8DDA791949E6}" srcOrd="1" destOrd="0" parTransId="{3B051867-D939-45D2-A222-35B2C4D80B68}" sibTransId="{241D92C2-6380-44B2-A32C-D43AA9CBF2E1}"/>
    <dgm:cxn modelId="{BA735A97-9C82-4711-A6DB-640035922E6E}" type="presOf" srcId="{63041DF2-159B-4292-B8A1-A8ADC56546D7}" destId="{D2A0B5EB-F419-4DFF-B601-C52826C8DD01}" srcOrd="0" destOrd="0" presId="urn:microsoft.com/office/officeart/2005/8/layout/chevron1"/>
    <dgm:cxn modelId="{B399EAEC-CAB4-49C9-A13D-5183CBFE8882}" srcId="{63041DF2-159B-4292-B8A1-A8ADC56546D7}" destId="{0E99D633-8F2D-47D2-869C-91B017ED28BC}" srcOrd="2" destOrd="0" parTransId="{2A32CC2F-3DFE-4A86-9AB1-0595F1736C5F}" sibTransId="{C6297988-659A-4132-98B2-B4F292C7CA5D}"/>
    <dgm:cxn modelId="{6C952A32-969B-44A6-A33F-806440A8A259}" type="presOf" srcId="{BA75B92D-AF2D-4263-9199-6F245494B7FD}" destId="{3088E546-D537-4F80-B275-882DD5099F01}" srcOrd="0" destOrd="0" presId="urn:microsoft.com/office/officeart/2005/8/layout/chevron1"/>
    <dgm:cxn modelId="{37323A62-F7C4-4B96-ADBA-5E8FCBA03EA8}" type="presOf" srcId="{0E99D633-8F2D-47D2-869C-91B017ED28BC}" destId="{480D76AB-66AB-4F05-BA5E-E9D5F4FBA5B7}" srcOrd="0" destOrd="0" presId="urn:microsoft.com/office/officeart/2005/8/layout/chevron1"/>
    <dgm:cxn modelId="{1C98EF0E-6FE9-4251-9EBF-EAC1E6F66F1A}" srcId="{63041DF2-159B-4292-B8A1-A8ADC56546D7}" destId="{BA75B92D-AF2D-4263-9199-6F245494B7FD}" srcOrd="0" destOrd="0" parTransId="{E37CC12F-4D37-488D-A458-135536733347}" sibTransId="{AA964B51-342A-4AB9-B910-CB064C31E298}"/>
    <dgm:cxn modelId="{0A5BCF25-6D16-4D8F-A6F8-923573AFC982}" type="presOf" srcId="{174723B3-EF49-45D3-B586-8DDA791949E6}" destId="{0A590A2C-AB1F-4752-8EC1-54846EB1405B}" srcOrd="0" destOrd="0" presId="urn:microsoft.com/office/officeart/2005/8/layout/chevron1"/>
    <dgm:cxn modelId="{90D09B4D-B984-42A8-8050-A014E3574767}" type="presParOf" srcId="{D2A0B5EB-F419-4DFF-B601-C52826C8DD01}" destId="{3088E546-D537-4F80-B275-882DD5099F01}" srcOrd="0" destOrd="0" presId="urn:microsoft.com/office/officeart/2005/8/layout/chevron1"/>
    <dgm:cxn modelId="{D6A26E73-1D72-4552-9F91-494B5801C65D}" type="presParOf" srcId="{D2A0B5EB-F419-4DFF-B601-C52826C8DD01}" destId="{19709D93-752A-42A6-A6F1-E55CFF17F355}" srcOrd="1" destOrd="0" presId="urn:microsoft.com/office/officeart/2005/8/layout/chevron1"/>
    <dgm:cxn modelId="{B8294AB4-072C-4494-81AF-14ABD023E107}" type="presParOf" srcId="{D2A0B5EB-F419-4DFF-B601-C52826C8DD01}" destId="{0A590A2C-AB1F-4752-8EC1-54846EB1405B}" srcOrd="2" destOrd="0" presId="urn:microsoft.com/office/officeart/2005/8/layout/chevron1"/>
    <dgm:cxn modelId="{92EF164F-B80F-4E07-BAF2-8F621E13FD62}" type="presParOf" srcId="{D2A0B5EB-F419-4DFF-B601-C52826C8DD01}" destId="{322F3EFD-6A09-4E95-8145-59EF8C55EB18}" srcOrd="3" destOrd="0" presId="urn:microsoft.com/office/officeart/2005/8/layout/chevron1"/>
    <dgm:cxn modelId="{C74E195D-2A3C-476D-9615-AF82198F82D6}" type="presParOf" srcId="{D2A0B5EB-F419-4DFF-B601-C52826C8DD01}" destId="{480D76AB-66AB-4F05-BA5E-E9D5F4FBA5B7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88E546-D537-4F80-B275-882DD5099F01}">
      <dsp:nvSpPr>
        <dsp:cNvPr id="0" name=""/>
        <dsp:cNvSpPr/>
      </dsp:nvSpPr>
      <dsp:spPr>
        <a:xfrm>
          <a:off x="2390" y="1817492"/>
          <a:ext cx="2912193" cy="116487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4013" tIns="34671" rIns="34671" bIns="34671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600" kern="1200" dirty="0"/>
            <a:t>Definición de modelo</a:t>
          </a:r>
          <a:endParaRPr lang="en-GB" sz="2600" kern="1200" dirty="0"/>
        </a:p>
      </dsp:txBody>
      <dsp:txXfrm>
        <a:off x="584829" y="1817492"/>
        <a:ext cx="1747316" cy="1164877"/>
      </dsp:txXfrm>
    </dsp:sp>
    <dsp:sp modelId="{0A590A2C-AB1F-4752-8EC1-54846EB1405B}">
      <dsp:nvSpPr>
        <dsp:cNvPr id="0" name=""/>
        <dsp:cNvSpPr/>
      </dsp:nvSpPr>
      <dsp:spPr>
        <a:xfrm>
          <a:off x="2623364" y="1817492"/>
          <a:ext cx="2912193" cy="116487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4013" tIns="34671" rIns="34671" bIns="34671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600" kern="1200" dirty="0"/>
            <a:t>Creación de migración</a:t>
          </a:r>
          <a:endParaRPr lang="en-GB" sz="2600" kern="1200" dirty="0"/>
        </a:p>
      </dsp:txBody>
      <dsp:txXfrm>
        <a:off x="3205803" y="1817492"/>
        <a:ext cx="1747316" cy="1164877"/>
      </dsp:txXfrm>
    </dsp:sp>
    <dsp:sp modelId="{480D76AB-66AB-4F05-BA5E-E9D5F4FBA5B7}">
      <dsp:nvSpPr>
        <dsp:cNvPr id="0" name=""/>
        <dsp:cNvSpPr/>
      </dsp:nvSpPr>
      <dsp:spPr>
        <a:xfrm>
          <a:off x="5244338" y="1817492"/>
          <a:ext cx="2912193" cy="116487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4013" tIns="34671" rIns="34671" bIns="34671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600" kern="1200" dirty="0"/>
            <a:t>Aplicar Migración</a:t>
          </a:r>
          <a:endParaRPr lang="en-GB" sz="2600" kern="1200" dirty="0"/>
        </a:p>
      </dsp:txBody>
      <dsp:txXfrm>
        <a:off x="5826777" y="1817492"/>
        <a:ext cx="1747316" cy="116487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88E546-D537-4F80-B275-882DD5099F01}">
      <dsp:nvSpPr>
        <dsp:cNvPr id="0" name=""/>
        <dsp:cNvSpPr/>
      </dsp:nvSpPr>
      <dsp:spPr>
        <a:xfrm>
          <a:off x="3784" y="1959317"/>
          <a:ext cx="2203068" cy="88122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010" tIns="25337" rIns="25337" bIns="25337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900" kern="1200" dirty="0"/>
            <a:t>Base de datos</a:t>
          </a:r>
          <a:endParaRPr lang="en-GB" sz="1900" kern="1200" dirty="0"/>
        </a:p>
      </dsp:txBody>
      <dsp:txXfrm>
        <a:off x="444398" y="1959317"/>
        <a:ext cx="1321841" cy="881227"/>
      </dsp:txXfrm>
    </dsp:sp>
    <dsp:sp modelId="{0A590A2C-AB1F-4752-8EC1-54846EB1405B}">
      <dsp:nvSpPr>
        <dsp:cNvPr id="0" name=""/>
        <dsp:cNvSpPr/>
      </dsp:nvSpPr>
      <dsp:spPr>
        <a:xfrm>
          <a:off x="1986546" y="1959317"/>
          <a:ext cx="2203068" cy="88122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010" tIns="25337" rIns="25337" bIns="25337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900" kern="1200" dirty="0"/>
            <a:t>EF Core</a:t>
          </a:r>
          <a:endParaRPr lang="en-GB" sz="1900" kern="1200" dirty="0"/>
        </a:p>
      </dsp:txBody>
      <dsp:txXfrm>
        <a:off x="2427160" y="1959317"/>
        <a:ext cx="1321841" cy="881227"/>
      </dsp:txXfrm>
    </dsp:sp>
    <dsp:sp modelId="{480D76AB-66AB-4F05-BA5E-E9D5F4FBA5B7}">
      <dsp:nvSpPr>
        <dsp:cNvPr id="0" name=""/>
        <dsp:cNvSpPr/>
      </dsp:nvSpPr>
      <dsp:spPr>
        <a:xfrm>
          <a:off x="3969307" y="1959317"/>
          <a:ext cx="2203068" cy="88122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010" tIns="25337" rIns="25337" bIns="25337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900" kern="1200" dirty="0"/>
            <a:t>Entidades</a:t>
          </a:r>
          <a:endParaRPr lang="en-GB" sz="1900" kern="1200" dirty="0"/>
        </a:p>
      </dsp:txBody>
      <dsp:txXfrm>
        <a:off x="4409921" y="1959317"/>
        <a:ext cx="1321841" cy="881227"/>
      </dsp:txXfrm>
    </dsp:sp>
    <dsp:sp modelId="{B5826648-720D-4643-8BF1-6811B2A59A01}">
      <dsp:nvSpPr>
        <dsp:cNvPr id="0" name=""/>
        <dsp:cNvSpPr/>
      </dsp:nvSpPr>
      <dsp:spPr>
        <a:xfrm>
          <a:off x="5929348" y="1932819"/>
          <a:ext cx="2203068" cy="88122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010" tIns="25337" rIns="25337" bIns="25337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900" kern="1200" dirty="0"/>
            <a:t>Crear nueva migraciones</a:t>
          </a:r>
          <a:endParaRPr lang="en-GB" sz="1900" kern="1200" dirty="0"/>
        </a:p>
      </dsp:txBody>
      <dsp:txXfrm>
        <a:off x="6369962" y="1932819"/>
        <a:ext cx="1321841" cy="88122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88E546-D537-4F80-B275-882DD5099F01}">
      <dsp:nvSpPr>
        <dsp:cNvPr id="0" name=""/>
        <dsp:cNvSpPr/>
      </dsp:nvSpPr>
      <dsp:spPr>
        <a:xfrm>
          <a:off x="2390" y="1817492"/>
          <a:ext cx="2912193" cy="116487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400" kern="1200" dirty="0"/>
            <a:t>Instancia nueva entidad</a:t>
          </a:r>
          <a:endParaRPr lang="en-GB" sz="1400" kern="1200" dirty="0"/>
        </a:p>
      </dsp:txBody>
      <dsp:txXfrm>
        <a:off x="584829" y="1817492"/>
        <a:ext cx="1747316" cy="1164877"/>
      </dsp:txXfrm>
    </dsp:sp>
    <dsp:sp modelId="{0A590A2C-AB1F-4752-8EC1-54846EB1405B}">
      <dsp:nvSpPr>
        <dsp:cNvPr id="0" name=""/>
        <dsp:cNvSpPr/>
      </dsp:nvSpPr>
      <dsp:spPr>
        <a:xfrm>
          <a:off x="2623364" y="1817492"/>
          <a:ext cx="2912193" cy="116487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400" kern="1200" dirty="0"/>
            <a:t>Se agrega al contexto</a:t>
          </a:r>
          <a:endParaRPr lang="en-GB" sz="1400" kern="1200" dirty="0"/>
        </a:p>
      </dsp:txBody>
      <dsp:txXfrm>
        <a:off x="3205803" y="1817492"/>
        <a:ext cx="1747316" cy="1164877"/>
      </dsp:txXfrm>
    </dsp:sp>
    <dsp:sp modelId="{480D76AB-66AB-4F05-BA5E-E9D5F4FBA5B7}">
      <dsp:nvSpPr>
        <dsp:cNvPr id="0" name=""/>
        <dsp:cNvSpPr/>
      </dsp:nvSpPr>
      <dsp:spPr>
        <a:xfrm>
          <a:off x="5244338" y="1817492"/>
          <a:ext cx="2912193" cy="116487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400" kern="1200" dirty="0" err="1"/>
            <a:t>Context.SaveChanges</a:t>
          </a:r>
          <a:r>
            <a:rPr lang="es-ES" sz="1400" kern="1200" dirty="0"/>
            <a:t>()</a:t>
          </a:r>
          <a:endParaRPr lang="en-GB" sz="1400" kern="1200" dirty="0"/>
        </a:p>
      </dsp:txBody>
      <dsp:txXfrm>
        <a:off x="5826777" y="1817492"/>
        <a:ext cx="1747316" cy="116487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88E546-D537-4F80-B275-882DD5099F01}">
      <dsp:nvSpPr>
        <dsp:cNvPr id="0" name=""/>
        <dsp:cNvSpPr/>
      </dsp:nvSpPr>
      <dsp:spPr>
        <a:xfrm>
          <a:off x="2390" y="1817492"/>
          <a:ext cx="2912193" cy="116487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400" kern="1200" dirty="0"/>
            <a:t>Se carga la entidad al contexto</a:t>
          </a:r>
          <a:endParaRPr lang="en-GB" sz="1400" kern="1200" dirty="0"/>
        </a:p>
      </dsp:txBody>
      <dsp:txXfrm>
        <a:off x="584829" y="1817492"/>
        <a:ext cx="1747316" cy="1164877"/>
      </dsp:txXfrm>
    </dsp:sp>
    <dsp:sp modelId="{0A590A2C-AB1F-4752-8EC1-54846EB1405B}">
      <dsp:nvSpPr>
        <dsp:cNvPr id="0" name=""/>
        <dsp:cNvSpPr/>
      </dsp:nvSpPr>
      <dsp:spPr>
        <a:xfrm>
          <a:off x="2623364" y="1817492"/>
          <a:ext cx="2912193" cy="116487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400" kern="1200" dirty="0"/>
            <a:t>Se actualizan los campos</a:t>
          </a:r>
          <a:endParaRPr lang="en-GB" sz="1400" kern="1200" dirty="0"/>
        </a:p>
      </dsp:txBody>
      <dsp:txXfrm>
        <a:off x="3205803" y="1817492"/>
        <a:ext cx="1747316" cy="1164877"/>
      </dsp:txXfrm>
    </dsp:sp>
    <dsp:sp modelId="{480D76AB-66AB-4F05-BA5E-E9D5F4FBA5B7}">
      <dsp:nvSpPr>
        <dsp:cNvPr id="0" name=""/>
        <dsp:cNvSpPr/>
      </dsp:nvSpPr>
      <dsp:spPr>
        <a:xfrm>
          <a:off x="5244338" y="1817492"/>
          <a:ext cx="2912193" cy="116487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400" kern="1200" dirty="0" err="1"/>
            <a:t>Context.SaveChanges</a:t>
          </a:r>
          <a:r>
            <a:rPr lang="es-ES" sz="1400" kern="1200" dirty="0"/>
            <a:t>()</a:t>
          </a:r>
          <a:endParaRPr lang="en-GB" sz="1400" kern="1200" dirty="0"/>
        </a:p>
      </dsp:txBody>
      <dsp:txXfrm>
        <a:off x="5826777" y="1817492"/>
        <a:ext cx="1747316" cy="116487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88E546-D537-4F80-B275-882DD5099F01}">
      <dsp:nvSpPr>
        <dsp:cNvPr id="0" name=""/>
        <dsp:cNvSpPr/>
      </dsp:nvSpPr>
      <dsp:spPr>
        <a:xfrm>
          <a:off x="2390" y="1817492"/>
          <a:ext cx="2912193" cy="116487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400" kern="1200" dirty="0"/>
            <a:t>Se carga la entidad al contexto</a:t>
          </a:r>
          <a:endParaRPr lang="en-GB" sz="1400" kern="1200" dirty="0"/>
        </a:p>
      </dsp:txBody>
      <dsp:txXfrm>
        <a:off x="584829" y="1817492"/>
        <a:ext cx="1747316" cy="1164877"/>
      </dsp:txXfrm>
    </dsp:sp>
    <dsp:sp modelId="{0A590A2C-AB1F-4752-8EC1-54846EB1405B}">
      <dsp:nvSpPr>
        <dsp:cNvPr id="0" name=""/>
        <dsp:cNvSpPr/>
      </dsp:nvSpPr>
      <dsp:spPr>
        <a:xfrm>
          <a:off x="2623364" y="1817492"/>
          <a:ext cx="2912193" cy="116487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400" kern="1200" dirty="0"/>
            <a:t>Se marca como borrada</a:t>
          </a:r>
          <a:endParaRPr lang="en-GB" sz="1400" kern="1200" dirty="0"/>
        </a:p>
      </dsp:txBody>
      <dsp:txXfrm>
        <a:off x="3205803" y="1817492"/>
        <a:ext cx="1747316" cy="1164877"/>
      </dsp:txXfrm>
    </dsp:sp>
    <dsp:sp modelId="{480D76AB-66AB-4F05-BA5E-E9D5F4FBA5B7}">
      <dsp:nvSpPr>
        <dsp:cNvPr id="0" name=""/>
        <dsp:cNvSpPr/>
      </dsp:nvSpPr>
      <dsp:spPr>
        <a:xfrm>
          <a:off x="5244338" y="1817492"/>
          <a:ext cx="2912193" cy="116487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400" kern="1200" dirty="0" err="1"/>
            <a:t>Context.SaveChanges</a:t>
          </a:r>
          <a:r>
            <a:rPr lang="es-ES" sz="1400" kern="1200" dirty="0"/>
            <a:t>()</a:t>
          </a:r>
          <a:endParaRPr lang="en-GB" sz="1400" kern="1200" dirty="0"/>
        </a:p>
      </dsp:txBody>
      <dsp:txXfrm>
        <a:off x="5826777" y="1817492"/>
        <a:ext cx="1747316" cy="1164877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7C7ECF1-CEAA-4CF0-BCB6-9BEA8C234660}">
      <dsp:nvSpPr>
        <dsp:cNvPr id="0" name=""/>
        <dsp:cNvSpPr/>
      </dsp:nvSpPr>
      <dsp:spPr>
        <a:xfrm>
          <a:off x="2381" y="2231496"/>
          <a:ext cx="2389187" cy="955675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64008" rIns="32004" bIns="6400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400" kern="1200" dirty="0"/>
            <a:t>EF</a:t>
          </a:r>
          <a:r>
            <a:rPr lang="es-ES" sz="4700" kern="1200" dirty="0"/>
            <a:t> </a:t>
          </a:r>
          <a:r>
            <a:rPr lang="es-ES" sz="2400" kern="1200" dirty="0"/>
            <a:t>Core</a:t>
          </a:r>
          <a:endParaRPr lang="en-GB" sz="2400" kern="1200" dirty="0"/>
        </a:p>
      </dsp:txBody>
      <dsp:txXfrm>
        <a:off x="2381" y="2231496"/>
        <a:ext cx="2150268" cy="955675"/>
      </dsp:txXfrm>
    </dsp:sp>
    <dsp:sp modelId="{6BF27BB4-C98A-4EF7-8801-D0C431F2A8EA}">
      <dsp:nvSpPr>
        <dsp:cNvPr id="0" name=""/>
        <dsp:cNvSpPr/>
      </dsp:nvSpPr>
      <dsp:spPr>
        <a:xfrm>
          <a:off x="1913731" y="2231496"/>
          <a:ext cx="2389187" cy="95567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64008" rIns="32004" bIns="6400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400" kern="1200" dirty="0"/>
            <a:t>EF Core 2</a:t>
          </a:r>
          <a:endParaRPr lang="en-GB" sz="2400" kern="1200" dirty="0"/>
        </a:p>
      </dsp:txBody>
      <dsp:txXfrm>
        <a:off x="2391569" y="2231496"/>
        <a:ext cx="1433512" cy="955675"/>
      </dsp:txXfrm>
    </dsp:sp>
    <dsp:sp modelId="{E49B3D08-B9BF-4A6F-87E6-6FB4A7F8B234}">
      <dsp:nvSpPr>
        <dsp:cNvPr id="0" name=""/>
        <dsp:cNvSpPr/>
      </dsp:nvSpPr>
      <dsp:spPr>
        <a:xfrm>
          <a:off x="3825081" y="2231496"/>
          <a:ext cx="2389187" cy="95567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64008" rIns="32004" bIns="6400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400" kern="1200" dirty="0"/>
            <a:t>EF Core 3</a:t>
          </a:r>
          <a:endParaRPr lang="en-GB" sz="2400" kern="1200" dirty="0"/>
        </a:p>
      </dsp:txBody>
      <dsp:txXfrm>
        <a:off x="4302919" y="2231496"/>
        <a:ext cx="1433512" cy="955675"/>
      </dsp:txXfrm>
    </dsp:sp>
    <dsp:sp modelId="{47BE1404-F74E-44C3-9E28-9AFA3C39BFE4}">
      <dsp:nvSpPr>
        <dsp:cNvPr id="0" name=""/>
        <dsp:cNvSpPr/>
      </dsp:nvSpPr>
      <dsp:spPr>
        <a:xfrm>
          <a:off x="5736431" y="2231496"/>
          <a:ext cx="2389187" cy="95567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64008" rIns="32004" bIns="6400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400" kern="1200" dirty="0"/>
            <a:t>EF Core 5</a:t>
          </a:r>
          <a:endParaRPr lang="en-GB" sz="2400" kern="1200" dirty="0"/>
        </a:p>
      </dsp:txBody>
      <dsp:txXfrm>
        <a:off x="6214269" y="2231496"/>
        <a:ext cx="1433512" cy="955675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88E546-D537-4F80-B275-882DD5099F01}">
      <dsp:nvSpPr>
        <dsp:cNvPr id="0" name=""/>
        <dsp:cNvSpPr/>
      </dsp:nvSpPr>
      <dsp:spPr>
        <a:xfrm>
          <a:off x="2390" y="1817492"/>
          <a:ext cx="2912193" cy="116487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0013" tIns="33338" rIns="33338" bIns="33338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500" kern="1200" dirty="0" err="1"/>
            <a:t>Conventions</a:t>
          </a:r>
          <a:endParaRPr lang="en-GB" sz="2500" kern="1200" dirty="0"/>
        </a:p>
      </dsp:txBody>
      <dsp:txXfrm>
        <a:off x="584829" y="1817492"/>
        <a:ext cx="1747316" cy="1164877"/>
      </dsp:txXfrm>
    </dsp:sp>
    <dsp:sp modelId="{0A590A2C-AB1F-4752-8EC1-54846EB1405B}">
      <dsp:nvSpPr>
        <dsp:cNvPr id="0" name=""/>
        <dsp:cNvSpPr/>
      </dsp:nvSpPr>
      <dsp:spPr>
        <a:xfrm>
          <a:off x="2623364" y="1817492"/>
          <a:ext cx="2912193" cy="116487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0013" tIns="33338" rIns="33338" bIns="33338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500" kern="1200" dirty="0"/>
            <a:t>Data </a:t>
          </a:r>
          <a:r>
            <a:rPr lang="es-ES" sz="2500" kern="1200" dirty="0" err="1"/>
            <a:t>Annotations</a:t>
          </a:r>
          <a:endParaRPr lang="en-GB" sz="2500" kern="1200" dirty="0"/>
        </a:p>
      </dsp:txBody>
      <dsp:txXfrm>
        <a:off x="3205803" y="1817492"/>
        <a:ext cx="1747316" cy="1164877"/>
      </dsp:txXfrm>
    </dsp:sp>
    <dsp:sp modelId="{480D76AB-66AB-4F05-BA5E-E9D5F4FBA5B7}">
      <dsp:nvSpPr>
        <dsp:cNvPr id="0" name=""/>
        <dsp:cNvSpPr/>
      </dsp:nvSpPr>
      <dsp:spPr>
        <a:xfrm>
          <a:off x="5244338" y="1817492"/>
          <a:ext cx="2912193" cy="116487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0013" tIns="33338" rIns="33338" bIns="33338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500" kern="1200" dirty="0" err="1"/>
            <a:t>Fluent</a:t>
          </a:r>
          <a:r>
            <a:rPr lang="es-ES" sz="2500" kern="1200" dirty="0"/>
            <a:t> Api</a:t>
          </a:r>
          <a:endParaRPr lang="en-GB" sz="2500" kern="1200" dirty="0"/>
        </a:p>
      </dsp:txBody>
      <dsp:txXfrm>
        <a:off x="5826777" y="1817492"/>
        <a:ext cx="1747316" cy="116487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C3C146D-B7CF-4A6C-B69F-FA4A60EE1CA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C4BE34B7-4A7F-4602-A85E-F16C40D1FD5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331396C-0798-4378-BC27-DBCE4EC04D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1ACA7D-15BE-4468-96C7-73D326F114EF}" type="datetimeFigureOut">
              <a:rPr lang="en-US" smtClean="0"/>
              <a:t>11/19/2020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7232A972-0C2D-4FA4-9825-20B40677C5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525C156-922A-4F6A-840D-1859F032B4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475CEC-95CC-4EEB-A90E-94E019DCB48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5234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CB95FF6-C3E5-46B4-BC24-3A6B0C0CBA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BFFD3B62-B781-46EB-9569-4E9DBB48B94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5E82086C-D790-4807-ADD1-67DB8F71AC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1ACA7D-15BE-4468-96C7-73D326F114EF}" type="datetimeFigureOut">
              <a:rPr lang="en-US" smtClean="0"/>
              <a:t>11/19/2020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8847225-ABE1-4098-8082-826337D7B5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FD2AFCB6-54E9-436A-8CD2-2FD9292B7F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475CEC-95CC-4EEB-A90E-94E019DCB48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46429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2B511098-9B02-4F10-9C64-37A3B4FC424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8EC51D24-BCE5-4918-AE38-A5FB929DF72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4BD93655-2265-43C7-9A68-108BB0FC18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1ACA7D-15BE-4468-96C7-73D326F114EF}" type="datetimeFigureOut">
              <a:rPr lang="en-US" smtClean="0"/>
              <a:t>11/19/2020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D288E40D-13EA-46C6-B056-EA13A1C3C6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DBEE2C8-EED5-4F42-BDE1-28521A32FF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475CEC-95CC-4EEB-A90E-94E019DCB48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11974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516F8CC-D830-4D79-B382-B45746F36B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529CEBB3-D477-4B19-868D-969211345C3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FCBE5E38-7CAE-46B6-AD3B-810792D543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1ACA7D-15BE-4468-96C7-73D326F114EF}" type="datetimeFigureOut">
              <a:rPr lang="en-US" smtClean="0"/>
              <a:t>11/19/2020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B87F08BE-440D-4311-897E-E0AC93E398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CCED4DC-9B4B-45B9-9112-28375D414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475CEC-95CC-4EEB-A90E-94E019DCB48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4090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66D0EE-6208-4AB6-BB5A-446DB5C832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806A9C8C-3F37-46B1-8B97-23CB69E075C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E0CF9FA-141A-470F-8C88-550AEE0B13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1ACA7D-15BE-4468-96C7-73D326F114EF}" type="datetimeFigureOut">
              <a:rPr lang="en-US" smtClean="0"/>
              <a:t>11/19/2020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BCE90D88-D3F5-45B9-9132-1C61EACE8A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5DB00CE-0D71-4FEE-AC49-A99F4F7EE9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475CEC-95CC-4EEB-A90E-94E019DCB48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24099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2E88C06-77E4-495D-B09B-8E7586A2D9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B043190-7D3A-4635-8916-4595D889B92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2BFC0CBD-879E-4165-9673-71D9F647CD7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71ECAC14-458F-4602-9229-65D6681427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1ACA7D-15BE-4468-96C7-73D326F114EF}" type="datetimeFigureOut">
              <a:rPr lang="en-US" smtClean="0"/>
              <a:t>11/19/2020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E27AE709-BD2F-4EE1-B6E1-1463F07937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32D94877-01C6-45A7-A795-A1DDF4BA8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475CEC-95CC-4EEB-A90E-94E019DCB48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80361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D7B03C2-3780-4454-A255-4F89DA958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E5478A3D-6C62-4D0F-93D6-AA1E183F20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3D69BCEA-5AA7-41D2-94E0-1A7D1CF8BB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64C1725C-A492-4516-92AC-9E42A193981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F9731293-C277-4C27-A351-A03260948D4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32A3C46D-6216-4E17-8AF1-FDB59055DC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1ACA7D-15BE-4468-96C7-73D326F114EF}" type="datetimeFigureOut">
              <a:rPr lang="en-US" smtClean="0"/>
              <a:t>11/19/2020</a:t>
            </a:fld>
            <a:endParaRPr lang="en-US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124FE3A4-954E-4E82-AD9B-AA08CC982D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8576D93D-B8AD-4BB4-8433-3780192776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475CEC-95CC-4EEB-A90E-94E019DCB48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97707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9C207D8-A447-43F1-9A4E-EBCDB9B5E9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A33E5371-A5D4-4998-9D91-1D2FC07728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1ACA7D-15BE-4468-96C7-73D326F114EF}" type="datetimeFigureOut">
              <a:rPr lang="en-US" smtClean="0"/>
              <a:t>11/19/2020</a:t>
            </a:fld>
            <a:endParaRPr lang="en-U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1B209BC4-2507-4B26-89D8-9938F345F5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899FA3FA-A502-4472-824D-2A3C44E4E8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475CEC-95CC-4EEB-A90E-94E019DCB48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53379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384D3864-02F6-40B0-811A-836397F623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1ACA7D-15BE-4468-96C7-73D326F114EF}" type="datetimeFigureOut">
              <a:rPr lang="en-US" smtClean="0"/>
              <a:t>11/19/2020</a:t>
            </a:fld>
            <a:endParaRPr lang="en-US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69DF5ADA-3655-4CFD-B686-5B20A9039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3A18CCE0-3664-41E2-8C16-BAD0488452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475CEC-95CC-4EEB-A90E-94E019DCB48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10880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B5282FB-A928-489F-ADAB-BE494938FE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F7BE9D46-2FE3-48C8-B82E-88B322E73A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B836F3AF-875F-4A16-BA68-EC330C48DE9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0D136E34-C321-4076-9A61-888759C0F3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1ACA7D-15BE-4468-96C7-73D326F114EF}" type="datetimeFigureOut">
              <a:rPr lang="en-US" smtClean="0"/>
              <a:t>11/19/2020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17CEE510-63CB-4C6C-AD1B-EE01F52942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DD03C1B9-0D9C-492D-9A73-FDBDD64FC3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475CEC-95CC-4EEB-A90E-94E019DCB48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88563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6C311E8-28F4-458E-9DC6-8051A16B7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A901E4A9-ADF8-4710-A6F9-B3EC7736197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F7F7A66C-34AA-4310-9CE7-F20765EAE58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10C7498D-4AFC-4C00-85C6-B130C87C7E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1ACA7D-15BE-4468-96C7-73D326F114EF}" type="datetimeFigureOut">
              <a:rPr lang="en-US" smtClean="0"/>
              <a:t>11/19/2020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2A15704C-9DF1-4130-9A51-A2491F7FB0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15E94B95-A9AC-4153-B5BA-C4E40A4EBD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475CEC-95CC-4EEB-A90E-94E019DCB48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4687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06EABF95-010F-4270-BF9C-D95AEE81AF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EE10963-7118-4F08-A1E7-338AE0F9B6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128EC57-6C0E-4777-A86F-3DF839AEB8B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1ACA7D-15BE-4468-96C7-73D326F114EF}" type="datetimeFigureOut">
              <a:rPr lang="en-US" smtClean="0"/>
              <a:t>11/19/2020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B051948E-A3E4-4AA3-9A8B-B9A8C12F19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A4BAF02-F445-421A-AA41-907B0E1889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475CEC-95CC-4EEB-A90E-94E019DCB48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288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slideLayout" Target="../slideLayouts/slideLayout6.xml"/><Relationship Id="rId7" Type="http://schemas.openxmlformats.org/officeDocument/2006/relationships/diagramLayout" Target="../diagrams/layout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diagramData" Target="../diagrams/data1.xml"/><Relationship Id="rId5" Type="http://schemas.openxmlformats.org/officeDocument/2006/relationships/image" Target="../media/image3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2.bin"/><Relationship Id="rId9" Type="http://schemas.openxmlformats.org/officeDocument/2006/relationships/diagramColors" Target="../diagrams/colors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3" Type="http://schemas.openxmlformats.org/officeDocument/2006/relationships/slideLayout" Target="../slideLayouts/slideLayout6.xml"/><Relationship Id="rId7" Type="http://schemas.openxmlformats.org/officeDocument/2006/relationships/diagramLayout" Target="../diagrams/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diagramData" Target="../diagrams/data2.xml"/><Relationship Id="rId5" Type="http://schemas.openxmlformats.org/officeDocument/2006/relationships/image" Target="../media/image3.emf"/><Relationship Id="rId10" Type="http://schemas.microsoft.com/office/2007/relationships/diagramDrawing" Target="../diagrams/drawing2.xml"/><Relationship Id="rId4" Type="http://schemas.openxmlformats.org/officeDocument/2006/relationships/oleObject" Target="../embeddings/oleObject2.bin"/><Relationship Id="rId9" Type="http://schemas.openxmlformats.org/officeDocument/2006/relationships/diagramColors" Target="../diagrams/colors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5.png"/><Relationship Id="rId5" Type="http://schemas.openxmlformats.org/officeDocument/2006/relationships/image" Target="../media/image3.emf"/><Relationship Id="rId10" Type="http://schemas.openxmlformats.org/officeDocument/2006/relationships/image" Target="../media/image19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1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3.xml"/><Relationship Id="rId3" Type="http://schemas.openxmlformats.org/officeDocument/2006/relationships/slideLayout" Target="../slideLayouts/slideLayout6.xml"/><Relationship Id="rId7" Type="http://schemas.openxmlformats.org/officeDocument/2006/relationships/diagramLayout" Target="../diagrams/layout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diagramData" Target="../diagrams/data3.xml"/><Relationship Id="rId5" Type="http://schemas.openxmlformats.org/officeDocument/2006/relationships/image" Target="../media/image3.emf"/><Relationship Id="rId10" Type="http://schemas.microsoft.com/office/2007/relationships/diagramDrawing" Target="../diagrams/drawing3.xml"/><Relationship Id="rId4" Type="http://schemas.openxmlformats.org/officeDocument/2006/relationships/oleObject" Target="../embeddings/oleObject2.bin"/><Relationship Id="rId9" Type="http://schemas.openxmlformats.org/officeDocument/2006/relationships/diagramColors" Target="../diagrams/colors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4.xml"/><Relationship Id="rId3" Type="http://schemas.openxmlformats.org/officeDocument/2006/relationships/slideLayout" Target="../slideLayouts/slideLayout6.xml"/><Relationship Id="rId7" Type="http://schemas.openxmlformats.org/officeDocument/2006/relationships/diagramLayout" Target="../diagrams/layout4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6" Type="http://schemas.openxmlformats.org/officeDocument/2006/relationships/diagramData" Target="../diagrams/data4.xml"/><Relationship Id="rId5" Type="http://schemas.openxmlformats.org/officeDocument/2006/relationships/image" Target="../media/image3.emf"/><Relationship Id="rId10" Type="http://schemas.microsoft.com/office/2007/relationships/diagramDrawing" Target="../diagrams/drawing4.xml"/><Relationship Id="rId4" Type="http://schemas.openxmlformats.org/officeDocument/2006/relationships/oleObject" Target="../embeddings/oleObject2.bin"/><Relationship Id="rId9" Type="http://schemas.openxmlformats.org/officeDocument/2006/relationships/diagramColors" Target="../diagrams/colors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5.xml"/><Relationship Id="rId3" Type="http://schemas.openxmlformats.org/officeDocument/2006/relationships/slideLayout" Target="../slideLayouts/slideLayout6.xml"/><Relationship Id="rId7" Type="http://schemas.openxmlformats.org/officeDocument/2006/relationships/diagramLayout" Target="../diagrams/layout5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6" Type="http://schemas.openxmlformats.org/officeDocument/2006/relationships/diagramData" Target="../diagrams/data5.xml"/><Relationship Id="rId5" Type="http://schemas.openxmlformats.org/officeDocument/2006/relationships/image" Target="../media/image3.emf"/><Relationship Id="rId10" Type="http://schemas.microsoft.com/office/2007/relationships/diagramDrawing" Target="../diagrams/drawing5.xml"/><Relationship Id="rId4" Type="http://schemas.openxmlformats.org/officeDocument/2006/relationships/oleObject" Target="../embeddings/oleObject2.bin"/><Relationship Id="rId9" Type="http://schemas.openxmlformats.org/officeDocument/2006/relationships/diagramColors" Target="../diagrams/colors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thereformedprogrammer.net/" TargetMode="External"/><Relationship Id="rId3" Type="http://schemas.openxmlformats.org/officeDocument/2006/relationships/slideLayout" Target="../slideLayouts/slideLayout6.xml"/><Relationship Id="rId7" Type="http://schemas.openxmlformats.org/officeDocument/2006/relationships/hyperlink" Target="https://app.pluralsight.com/library/courses/getting-started-entity-framework-core/table-of-contents" TargetMode="Externa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6" Type="http://schemas.openxmlformats.org/officeDocument/2006/relationships/hyperlink" Target="https://docs.microsoft.com/en-us/ef/core" TargetMode="Externa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Relationship Id="rId9" Type="http://schemas.openxmlformats.org/officeDocument/2006/relationships/hyperlink" Target="https://github.com/r0lan2/EFCoreMeetUp" TargetMode="Externa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6.xml"/><Relationship Id="rId3" Type="http://schemas.openxmlformats.org/officeDocument/2006/relationships/slideLayout" Target="../slideLayouts/slideLayout6.xml"/><Relationship Id="rId7" Type="http://schemas.openxmlformats.org/officeDocument/2006/relationships/diagramLayout" Target="../diagrams/layout6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1.vml"/><Relationship Id="rId6" Type="http://schemas.openxmlformats.org/officeDocument/2006/relationships/diagramData" Target="../diagrams/data6.xml"/><Relationship Id="rId5" Type="http://schemas.openxmlformats.org/officeDocument/2006/relationships/image" Target="../media/image3.emf"/><Relationship Id="rId10" Type="http://schemas.microsoft.com/office/2007/relationships/diagramDrawing" Target="../diagrams/drawing6.xml"/><Relationship Id="rId4" Type="http://schemas.openxmlformats.org/officeDocument/2006/relationships/oleObject" Target="../embeddings/oleObject2.bin"/><Relationship Id="rId9" Type="http://schemas.openxmlformats.org/officeDocument/2006/relationships/diagramColors" Target="../diagrams/colors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7.xml"/><Relationship Id="rId3" Type="http://schemas.openxmlformats.org/officeDocument/2006/relationships/slideLayout" Target="../slideLayouts/slideLayout6.xml"/><Relationship Id="rId7" Type="http://schemas.openxmlformats.org/officeDocument/2006/relationships/diagramLayout" Target="../diagrams/layout7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6" Type="http://schemas.openxmlformats.org/officeDocument/2006/relationships/diagramData" Target="../diagrams/data7.xml"/><Relationship Id="rId5" Type="http://schemas.openxmlformats.org/officeDocument/2006/relationships/image" Target="../media/image3.emf"/><Relationship Id="rId10" Type="http://schemas.microsoft.com/office/2007/relationships/diagramDrawing" Target="../diagrams/drawing7.xml"/><Relationship Id="rId4" Type="http://schemas.openxmlformats.org/officeDocument/2006/relationships/oleObject" Target="../embeddings/oleObject2.bin"/><Relationship Id="rId9" Type="http://schemas.openxmlformats.org/officeDocument/2006/relationships/diagramColors" Target="../diagrams/colors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9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3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uadroTexto 6">
            <a:extLst>
              <a:ext uri="{FF2B5EF4-FFF2-40B4-BE49-F238E27FC236}">
                <a16:creationId xmlns:a16="http://schemas.microsoft.com/office/drawing/2014/main" id="{51D3110C-B8C7-45DB-8632-797A39C99DCF}"/>
              </a:ext>
            </a:extLst>
          </p:cNvPr>
          <p:cNvSpPr txBox="1"/>
          <p:nvPr/>
        </p:nvSpPr>
        <p:spPr>
          <a:xfrm>
            <a:off x="329411" y="3941576"/>
            <a:ext cx="63894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>
                <a:solidFill>
                  <a:schemeClr val="bg1"/>
                </a:solidFill>
                <a:latin typeface="Dosis" panose="02010703020202060003" pitchFamily="2" charset="0"/>
              </a:rPr>
              <a:t>CHARLA: Introducción a EF Core</a:t>
            </a:r>
            <a:endParaRPr lang="en-US" b="1" dirty="0"/>
          </a:p>
        </p:txBody>
      </p:sp>
      <p:sp>
        <p:nvSpPr>
          <p:cNvPr id="8" name="Elipse 7">
            <a:extLst>
              <a:ext uri="{FF2B5EF4-FFF2-40B4-BE49-F238E27FC236}">
                <a16:creationId xmlns:a16="http://schemas.microsoft.com/office/drawing/2014/main" id="{190F6D0B-CB77-499C-BEBF-1DD5C6F8090D}"/>
              </a:ext>
            </a:extLst>
          </p:cNvPr>
          <p:cNvSpPr/>
          <p:nvPr/>
        </p:nvSpPr>
        <p:spPr>
          <a:xfrm>
            <a:off x="386207" y="4998669"/>
            <a:ext cx="1357402" cy="1357402"/>
          </a:xfrm>
          <a:prstGeom prst="ellipse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800" dirty="0">
              <a:latin typeface="Dosis" panose="02010703020202060003" pitchFamily="2" charset="0"/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67E78ACE-6A78-4F5B-B8F7-C37FBDDFB041}"/>
              </a:ext>
            </a:extLst>
          </p:cNvPr>
          <p:cNvSpPr txBox="1"/>
          <p:nvPr/>
        </p:nvSpPr>
        <p:spPr>
          <a:xfrm>
            <a:off x="1970789" y="5215705"/>
            <a:ext cx="52308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dirty="0">
                <a:solidFill>
                  <a:schemeClr val="bg1"/>
                </a:solidFill>
                <a:latin typeface="Dosis" panose="02010703020202060003" pitchFamily="2" charset="0"/>
              </a:rPr>
              <a:t>Rolando Martínez </a:t>
            </a:r>
            <a:r>
              <a:rPr lang="es-CL" dirty="0" err="1">
                <a:solidFill>
                  <a:schemeClr val="bg1"/>
                </a:solidFill>
                <a:latin typeface="Dosis" panose="02010703020202060003" pitchFamily="2" charset="0"/>
              </a:rPr>
              <a:t>Gallardo</a:t>
            </a:r>
            <a:endParaRPr lang="es-CL" dirty="0">
              <a:solidFill>
                <a:schemeClr val="bg1"/>
              </a:solidFill>
              <a:latin typeface="Dosis" panose="02010703020202060003" pitchFamily="2" charset="0"/>
            </a:endParaRPr>
          </a:p>
          <a:p>
            <a:r>
              <a:rPr lang="es-CL" dirty="0">
                <a:solidFill>
                  <a:schemeClr val="bg1"/>
                </a:solidFill>
                <a:latin typeface="Dosis" panose="02010703020202060003" pitchFamily="2" charset="0"/>
              </a:rPr>
              <a:t>Desarrollador de software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367C76E5-EC32-4678-B06A-68328C17F686}"/>
              </a:ext>
            </a:extLst>
          </p:cNvPr>
          <p:cNvSpPr txBox="1"/>
          <p:nvPr/>
        </p:nvSpPr>
        <p:spPr>
          <a:xfrm>
            <a:off x="1726570" y="1439672"/>
            <a:ext cx="2302091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CL" sz="2600" dirty="0">
                <a:latin typeface="Dosis" panose="02010703020202060003" pitchFamily="2" charset="0"/>
              </a:rPr>
              <a:t>Nov. 2020</a:t>
            </a:r>
            <a:endParaRPr lang="en-US" sz="2600" dirty="0">
              <a:latin typeface="Dosis" panose="02010703020202060003" pitchFamily="2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F24D3DD1-5876-40B5-A7F7-E6631B913E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1654" y="4956206"/>
            <a:ext cx="1424916" cy="1442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5536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7D703F6-2A4D-4851-A0AE-44CC733402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9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7D703F6-2A4D-4851-A0AE-44CC733402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ítulo 5">
            <a:extLst>
              <a:ext uri="{FF2B5EF4-FFF2-40B4-BE49-F238E27FC236}">
                <a16:creationId xmlns:a16="http://schemas.microsoft.com/office/drawing/2014/main" id="{174D0448-2934-48FA-837C-F89B4DF6CC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93C90456-F33E-4D7F-B9F8-74C22695B941}"/>
              </a:ext>
            </a:extLst>
          </p:cNvPr>
          <p:cNvSpPr/>
          <p:nvPr/>
        </p:nvSpPr>
        <p:spPr>
          <a:xfrm>
            <a:off x="1589" y="0"/>
            <a:ext cx="12188825" cy="1772816"/>
          </a:xfrm>
          <a:prstGeom prst="rect">
            <a:avLst/>
          </a:prstGeom>
          <a:solidFill>
            <a:srgbClr val="6821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/>
              <a:t>Modelo - </a:t>
            </a:r>
            <a:r>
              <a:rPr lang="es-ES" sz="3600" dirty="0" err="1"/>
              <a:t>Workflow</a:t>
            </a:r>
            <a:endParaRPr lang="es-CL" sz="3600" dirty="0"/>
          </a:p>
        </p:txBody>
      </p:sp>
      <p:graphicFrame>
        <p:nvGraphicFramePr>
          <p:cNvPr id="2" name="Diagrama 1">
            <a:extLst>
              <a:ext uri="{FF2B5EF4-FFF2-40B4-BE49-F238E27FC236}">
                <a16:creationId xmlns:a16="http://schemas.microsoft.com/office/drawing/2014/main" id="{9D491A9F-3974-4F72-8372-5104340B352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37610526"/>
              </p:ext>
            </p:extLst>
          </p:nvPr>
        </p:nvGraphicFramePr>
        <p:xfrm>
          <a:off x="2001078" y="1338470"/>
          <a:ext cx="8158922" cy="47998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055637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7D703F6-2A4D-4851-A0AE-44CC733402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82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7D703F6-2A4D-4851-A0AE-44CC733402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ítulo 5">
            <a:extLst>
              <a:ext uri="{FF2B5EF4-FFF2-40B4-BE49-F238E27FC236}">
                <a16:creationId xmlns:a16="http://schemas.microsoft.com/office/drawing/2014/main" id="{174D0448-2934-48FA-837C-F89B4DF6CC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93C90456-F33E-4D7F-B9F8-74C22695B941}"/>
              </a:ext>
            </a:extLst>
          </p:cNvPr>
          <p:cNvSpPr/>
          <p:nvPr/>
        </p:nvSpPr>
        <p:spPr>
          <a:xfrm>
            <a:off x="1589" y="0"/>
            <a:ext cx="12188825" cy="1772816"/>
          </a:xfrm>
          <a:prstGeom prst="rect">
            <a:avLst/>
          </a:prstGeom>
          <a:solidFill>
            <a:srgbClr val="6821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/>
              <a:t>Modelo – Run </a:t>
            </a:r>
            <a:r>
              <a:rPr lang="es-ES" sz="3600" dirty="0" err="1"/>
              <a:t>Migrations</a:t>
            </a:r>
            <a:endParaRPr lang="es-CL" sz="3600" dirty="0"/>
          </a:p>
        </p:txBody>
      </p:sp>
      <p:sp>
        <p:nvSpPr>
          <p:cNvPr id="5" name="Cilindro 4">
            <a:extLst>
              <a:ext uri="{FF2B5EF4-FFF2-40B4-BE49-F238E27FC236}">
                <a16:creationId xmlns:a16="http://schemas.microsoft.com/office/drawing/2014/main" id="{2128FF31-B531-4950-8CA2-F6C3BA247365}"/>
              </a:ext>
            </a:extLst>
          </p:cNvPr>
          <p:cNvSpPr/>
          <p:nvPr/>
        </p:nvSpPr>
        <p:spPr>
          <a:xfrm>
            <a:off x="7779433" y="3429000"/>
            <a:ext cx="2438400" cy="2196211"/>
          </a:xfrm>
          <a:prstGeom prst="can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 err="1"/>
              <a:t>Database</a:t>
            </a:r>
            <a:endParaRPr lang="en-GB" dirty="0"/>
          </a:p>
        </p:txBody>
      </p:sp>
      <p:sp>
        <p:nvSpPr>
          <p:cNvPr id="8" name="Flecha: a la derecha 7">
            <a:extLst>
              <a:ext uri="{FF2B5EF4-FFF2-40B4-BE49-F238E27FC236}">
                <a16:creationId xmlns:a16="http://schemas.microsoft.com/office/drawing/2014/main" id="{6B7438EA-F62B-40F2-9EA5-2C84F9EFCFAE}"/>
              </a:ext>
            </a:extLst>
          </p:cNvPr>
          <p:cNvSpPr/>
          <p:nvPr/>
        </p:nvSpPr>
        <p:spPr>
          <a:xfrm>
            <a:off x="4206240" y="3429000"/>
            <a:ext cx="2630658" cy="763172"/>
          </a:xfrm>
          <a:prstGeom prst="rightArrow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 err="1"/>
              <a:t>Update</a:t>
            </a:r>
            <a:r>
              <a:rPr lang="es-ES" dirty="0"/>
              <a:t> </a:t>
            </a:r>
            <a:r>
              <a:rPr lang="es-ES" dirty="0" err="1"/>
              <a:t>Database</a:t>
            </a:r>
            <a:endParaRPr lang="en-GB" dirty="0"/>
          </a:p>
        </p:txBody>
      </p:sp>
      <p:sp>
        <p:nvSpPr>
          <p:cNvPr id="10" name="Flecha: a la derecha 9">
            <a:extLst>
              <a:ext uri="{FF2B5EF4-FFF2-40B4-BE49-F238E27FC236}">
                <a16:creationId xmlns:a16="http://schemas.microsoft.com/office/drawing/2014/main" id="{72278FED-1C6C-42E5-92DC-C43BC28C8517}"/>
              </a:ext>
            </a:extLst>
          </p:cNvPr>
          <p:cNvSpPr/>
          <p:nvPr/>
        </p:nvSpPr>
        <p:spPr>
          <a:xfrm>
            <a:off x="4206240" y="4752094"/>
            <a:ext cx="2630658" cy="76317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Script - </a:t>
            </a:r>
            <a:r>
              <a:rPr lang="es-ES" dirty="0" err="1"/>
              <a:t>Migration</a:t>
            </a:r>
            <a:endParaRPr lang="en-GB" dirty="0"/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9493702A-CADF-4124-BDF5-9B462598620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85085" y="3429000"/>
            <a:ext cx="1895740" cy="2086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6995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7D703F6-2A4D-4851-A0AE-44CC733402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9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7D703F6-2A4D-4851-A0AE-44CC733402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ítulo 5">
            <a:extLst>
              <a:ext uri="{FF2B5EF4-FFF2-40B4-BE49-F238E27FC236}">
                <a16:creationId xmlns:a16="http://schemas.microsoft.com/office/drawing/2014/main" id="{174D0448-2934-48FA-837C-F89B4DF6CC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93C90456-F33E-4D7F-B9F8-74C22695B941}"/>
              </a:ext>
            </a:extLst>
          </p:cNvPr>
          <p:cNvSpPr/>
          <p:nvPr/>
        </p:nvSpPr>
        <p:spPr>
          <a:xfrm>
            <a:off x="1589" y="0"/>
            <a:ext cx="12188825" cy="1772816"/>
          </a:xfrm>
          <a:prstGeom prst="rect">
            <a:avLst/>
          </a:prstGeom>
          <a:solidFill>
            <a:srgbClr val="6821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/>
              <a:t>Modelo – Ingeniería inversa</a:t>
            </a:r>
            <a:endParaRPr lang="es-CL" sz="3600" dirty="0"/>
          </a:p>
        </p:txBody>
      </p:sp>
      <p:graphicFrame>
        <p:nvGraphicFramePr>
          <p:cNvPr id="2" name="Diagrama 1">
            <a:extLst>
              <a:ext uri="{FF2B5EF4-FFF2-40B4-BE49-F238E27FC236}">
                <a16:creationId xmlns:a16="http://schemas.microsoft.com/office/drawing/2014/main" id="{9D491A9F-3974-4F72-8372-5104340B352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13698687"/>
              </p:ext>
            </p:extLst>
          </p:nvPr>
        </p:nvGraphicFramePr>
        <p:xfrm>
          <a:off x="2001078" y="1338470"/>
          <a:ext cx="8158922" cy="47998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715262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7D703F6-2A4D-4851-A0AE-44CC733402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1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7D703F6-2A4D-4851-A0AE-44CC733402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ítulo 5">
            <a:extLst>
              <a:ext uri="{FF2B5EF4-FFF2-40B4-BE49-F238E27FC236}">
                <a16:creationId xmlns:a16="http://schemas.microsoft.com/office/drawing/2014/main" id="{174D0448-2934-48FA-837C-F89B4DF6CC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93C90456-F33E-4D7F-B9F8-74C22695B941}"/>
              </a:ext>
            </a:extLst>
          </p:cNvPr>
          <p:cNvSpPr/>
          <p:nvPr/>
        </p:nvSpPr>
        <p:spPr>
          <a:xfrm>
            <a:off x="1589" y="0"/>
            <a:ext cx="12188825" cy="1772816"/>
          </a:xfrm>
          <a:prstGeom prst="rect">
            <a:avLst/>
          </a:prstGeom>
          <a:solidFill>
            <a:srgbClr val="68217A"/>
          </a:solidFill>
          <a:ln>
            <a:solidFill>
              <a:srgbClr val="6821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/>
              <a:t>Consultas - </a:t>
            </a:r>
            <a:r>
              <a:rPr lang="es-ES" sz="3600" dirty="0" err="1"/>
              <a:t>Workflow</a:t>
            </a:r>
            <a:r>
              <a:rPr lang="es-ES" sz="3600" dirty="0"/>
              <a:t> </a:t>
            </a:r>
            <a:endParaRPr lang="es-CL" sz="3600" dirty="0"/>
          </a:p>
        </p:txBody>
      </p:sp>
      <p:sp>
        <p:nvSpPr>
          <p:cNvPr id="9" name="Rectángulo: esquinas redondeadas 8">
            <a:extLst>
              <a:ext uri="{FF2B5EF4-FFF2-40B4-BE49-F238E27FC236}">
                <a16:creationId xmlns:a16="http://schemas.microsoft.com/office/drawing/2014/main" id="{9EA647D4-F8B3-45E8-BE22-908C9D32FC39}"/>
              </a:ext>
            </a:extLst>
          </p:cNvPr>
          <p:cNvSpPr/>
          <p:nvPr/>
        </p:nvSpPr>
        <p:spPr>
          <a:xfrm>
            <a:off x="414545" y="2024161"/>
            <a:ext cx="2077278" cy="480391"/>
          </a:xfrm>
          <a:prstGeom prst="round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Ejecutar </a:t>
            </a:r>
            <a:r>
              <a:rPr lang="es-ES" dirty="0" err="1"/>
              <a:t>Linq</a:t>
            </a:r>
            <a:endParaRPr lang="en-GB" dirty="0"/>
          </a:p>
        </p:txBody>
      </p:sp>
      <p:sp>
        <p:nvSpPr>
          <p:cNvPr id="11" name="Rectángulo: esquinas redondeadas 10">
            <a:extLst>
              <a:ext uri="{FF2B5EF4-FFF2-40B4-BE49-F238E27FC236}">
                <a16:creationId xmlns:a16="http://schemas.microsoft.com/office/drawing/2014/main" id="{F2A45ACC-E9AC-42CB-B893-C3EE8E58B6B6}"/>
              </a:ext>
            </a:extLst>
          </p:cNvPr>
          <p:cNvSpPr/>
          <p:nvPr/>
        </p:nvSpPr>
        <p:spPr>
          <a:xfrm>
            <a:off x="4198866" y="1820854"/>
            <a:ext cx="2599083" cy="887728"/>
          </a:xfrm>
          <a:prstGeom prst="round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dirty="0"/>
              <a:t>EF Core revisa el modelo y configuraciones</a:t>
            </a:r>
            <a:endParaRPr lang="en-GB" dirty="0"/>
          </a:p>
        </p:txBody>
      </p:sp>
      <p:sp>
        <p:nvSpPr>
          <p:cNvPr id="13" name="Rectángulo: esquinas redondeadas 12">
            <a:extLst>
              <a:ext uri="{FF2B5EF4-FFF2-40B4-BE49-F238E27FC236}">
                <a16:creationId xmlns:a16="http://schemas.microsoft.com/office/drawing/2014/main" id="{DB2C9FFD-ED7A-41A3-9E57-D4ABB8BC313E}"/>
              </a:ext>
            </a:extLst>
          </p:cNvPr>
          <p:cNvSpPr/>
          <p:nvPr/>
        </p:nvSpPr>
        <p:spPr>
          <a:xfrm>
            <a:off x="8754717" y="2157044"/>
            <a:ext cx="2599083" cy="887728"/>
          </a:xfrm>
          <a:prstGeom prst="round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dirty="0"/>
              <a:t>Se </a:t>
            </a:r>
            <a:r>
              <a:rPr lang="es-ES" dirty="0" err="1"/>
              <a:t>envia</a:t>
            </a:r>
            <a:r>
              <a:rPr lang="es-ES" dirty="0"/>
              <a:t> el </a:t>
            </a:r>
            <a:r>
              <a:rPr lang="es-ES" dirty="0" err="1"/>
              <a:t>sql</a:t>
            </a:r>
            <a:r>
              <a:rPr lang="es-ES" dirty="0"/>
              <a:t> resultante a la BD</a:t>
            </a:r>
            <a:endParaRPr lang="en-GB" dirty="0"/>
          </a:p>
        </p:txBody>
      </p:sp>
      <p:sp>
        <p:nvSpPr>
          <p:cNvPr id="15" name="Rectángulo: esquinas redondeadas 14">
            <a:extLst>
              <a:ext uri="{FF2B5EF4-FFF2-40B4-BE49-F238E27FC236}">
                <a16:creationId xmlns:a16="http://schemas.microsoft.com/office/drawing/2014/main" id="{44D40011-1004-4EFE-8954-7AF51912E7C5}"/>
              </a:ext>
            </a:extLst>
          </p:cNvPr>
          <p:cNvSpPr/>
          <p:nvPr/>
        </p:nvSpPr>
        <p:spPr>
          <a:xfrm>
            <a:off x="8514309" y="4257998"/>
            <a:ext cx="2599083" cy="887728"/>
          </a:xfrm>
          <a:prstGeom prst="round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dirty="0"/>
              <a:t>Se reciben los resultados de la consulta</a:t>
            </a:r>
            <a:endParaRPr lang="en-GB" dirty="0"/>
          </a:p>
        </p:txBody>
      </p:sp>
      <p:cxnSp>
        <p:nvCxnSpPr>
          <p:cNvPr id="17" name="Conector recto de flecha 16">
            <a:extLst>
              <a:ext uri="{FF2B5EF4-FFF2-40B4-BE49-F238E27FC236}">
                <a16:creationId xmlns:a16="http://schemas.microsoft.com/office/drawing/2014/main" id="{81AEECA2-536D-4B32-BDC7-54916501F6B6}"/>
              </a:ext>
            </a:extLst>
          </p:cNvPr>
          <p:cNvCxnSpPr>
            <a:cxnSpLocks/>
          </p:cNvCxnSpPr>
          <p:nvPr/>
        </p:nvCxnSpPr>
        <p:spPr>
          <a:xfrm>
            <a:off x="2583967" y="2321833"/>
            <a:ext cx="1430611" cy="1"/>
          </a:xfrm>
          <a:prstGeom prst="straightConnector1">
            <a:avLst/>
          </a:prstGeom>
          <a:ln w="9525" cap="flat" cmpd="sng" algn="ctr">
            <a:solidFill>
              <a:schemeClr val="accent1"/>
            </a:solidFill>
            <a:prstDash val="dashDot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8" name="Conector recto de flecha 17">
            <a:extLst>
              <a:ext uri="{FF2B5EF4-FFF2-40B4-BE49-F238E27FC236}">
                <a16:creationId xmlns:a16="http://schemas.microsoft.com/office/drawing/2014/main" id="{5B9535F4-3EA0-4F92-B6E8-F56E5F9579DD}"/>
              </a:ext>
            </a:extLst>
          </p:cNvPr>
          <p:cNvCxnSpPr>
            <a:cxnSpLocks/>
            <a:endCxn id="13" idx="1"/>
          </p:cNvCxnSpPr>
          <p:nvPr/>
        </p:nvCxnSpPr>
        <p:spPr>
          <a:xfrm>
            <a:off x="6844535" y="2235281"/>
            <a:ext cx="1910182" cy="365627"/>
          </a:xfrm>
          <a:prstGeom prst="straightConnector1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1" name="Conector recto de flecha 20">
            <a:extLst>
              <a:ext uri="{FF2B5EF4-FFF2-40B4-BE49-F238E27FC236}">
                <a16:creationId xmlns:a16="http://schemas.microsoft.com/office/drawing/2014/main" id="{18BD954A-9360-486B-9A46-6B3D93ACB616}"/>
              </a:ext>
            </a:extLst>
          </p:cNvPr>
          <p:cNvCxnSpPr>
            <a:cxnSpLocks/>
            <a:stCxn id="15" idx="1"/>
            <a:endCxn id="25" idx="3"/>
          </p:cNvCxnSpPr>
          <p:nvPr/>
        </p:nvCxnSpPr>
        <p:spPr>
          <a:xfrm flipH="1">
            <a:off x="6613661" y="4701862"/>
            <a:ext cx="1900648" cy="54016"/>
          </a:xfrm>
          <a:prstGeom prst="straightConnector1">
            <a:avLst/>
          </a:prstGeom>
          <a:ln w="9525" cap="flat" cmpd="sng" algn="ctr">
            <a:solidFill>
              <a:schemeClr val="accent1"/>
            </a:solidFill>
            <a:prstDash val="dashDot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5" name="Rectángulo: esquinas redondeadas 24">
            <a:extLst>
              <a:ext uri="{FF2B5EF4-FFF2-40B4-BE49-F238E27FC236}">
                <a16:creationId xmlns:a16="http://schemas.microsoft.com/office/drawing/2014/main" id="{DBDBA49B-0AEC-499C-924A-15257AC412DE}"/>
              </a:ext>
            </a:extLst>
          </p:cNvPr>
          <p:cNvSpPr/>
          <p:nvPr/>
        </p:nvSpPr>
        <p:spPr>
          <a:xfrm>
            <a:off x="4014578" y="4312014"/>
            <a:ext cx="2599083" cy="887728"/>
          </a:xfrm>
          <a:prstGeom prst="round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dirty="0"/>
              <a:t>Se  crean los objetos y colecciones</a:t>
            </a:r>
            <a:endParaRPr lang="en-GB" dirty="0"/>
          </a:p>
        </p:txBody>
      </p:sp>
      <p:pic>
        <p:nvPicPr>
          <p:cNvPr id="27" name="Imagen 26">
            <a:extLst>
              <a:ext uri="{FF2B5EF4-FFF2-40B4-BE49-F238E27FC236}">
                <a16:creationId xmlns:a16="http://schemas.microsoft.com/office/drawing/2014/main" id="{B0F349CE-23C5-44C1-AB94-430909E5C1F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835" y="2606050"/>
            <a:ext cx="3801005" cy="447737"/>
          </a:xfrm>
          <a:prstGeom prst="rect">
            <a:avLst/>
          </a:prstGeom>
        </p:spPr>
      </p:pic>
      <p:pic>
        <p:nvPicPr>
          <p:cNvPr id="31" name="Imagen 30">
            <a:extLst>
              <a:ext uri="{FF2B5EF4-FFF2-40B4-BE49-F238E27FC236}">
                <a16:creationId xmlns:a16="http://schemas.microsoft.com/office/drawing/2014/main" id="{8647AF31-2503-440C-999C-A6D9E58D4E2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30559" y="2793360"/>
            <a:ext cx="2286319" cy="1400370"/>
          </a:xfrm>
          <a:prstGeom prst="rect">
            <a:avLst/>
          </a:prstGeom>
        </p:spPr>
      </p:pic>
      <p:pic>
        <p:nvPicPr>
          <p:cNvPr id="33" name="Imagen 32">
            <a:extLst>
              <a:ext uri="{FF2B5EF4-FFF2-40B4-BE49-F238E27FC236}">
                <a16:creationId xmlns:a16="http://schemas.microsoft.com/office/drawing/2014/main" id="{46B8148F-337D-4D40-B3E2-0B91A7BB8E6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686261" y="3296287"/>
            <a:ext cx="3644116" cy="666291"/>
          </a:xfrm>
          <a:prstGeom prst="rect">
            <a:avLst/>
          </a:prstGeom>
        </p:spPr>
      </p:pic>
      <p:cxnSp>
        <p:nvCxnSpPr>
          <p:cNvPr id="39" name="Conector recto 38">
            <a:extLst>
              <a:ext uri="{FF2B5EF4-FFF2-40B4-BE49-F238E27FC236}">
                <a16:creationId xmlns:a16="http://schemas.microsoft.com/office/drawing/2014/main" id="{5DFD661A-3ACD-4B5F-8179-C89C9D7401D0}"/>
              </a:ext>
            </a:extLst>
          </p:cNvPr>
          <p:cNvCxnSpPr/>
          <p:nvPr/>
        </p:nvCxnSpPr>
        <p:spPr>
          <a:xfrm>
            <a:off x="11353800" y="2600908"/>
            <a:ext cx="493643" cy="0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ector recto 40">
            <a:extLst>
              <a:ext uri="{FF2B5EF4-FFF2-40B4-BE49-F238E27FC236}">
                <a16:creationId xmlns:a16="http://schemas.microsoft.com/office/drawing/2014/main" id="{86D65885-777F-41E5-B723-B274BBAA97B7}"/>
              </a:ext>
            </a:extLst>
          </p:cNvPr>
          <p:cNvCxnSpPr/>
          <p:nvPr/>
        </p:nvCxnSpPr>
        <p:spPr>
          <a:xfrm>
            <a:off x="11847443" y="2600908"/>
            <a:ext cx="0" cy="2236135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ector recto de flecha 42">
            <a:extLst>
              <a:ext uri="{FF2B5EF4-FFF2-40B4-BE49-F238E27FC236}">
                <a16:creationId xmlns:a16="http://schemas.microsoft.com/office/drawing/2014/main" id="{AC83A1A4-B67F-4192-9DFB-F938CC0FDD81}"/>
              </a:ext>
            </a:extLst>
          </p:cNvPr>
          <p:cNvCxnSpPr/>
          <p:nvPr/>
        </p:nvCxnSpPr>
        <p:spPr>
          <a:xfrm flipH="1">
            <a:off x="11113392" y="4863548"/>
            <a:ext cx="734051" cy="0"/>
          </a:xfrm>
          <a:prstGeom prst="straightConnector1">
            <a:avLst/>
          </a:prstGeom>
          <a:ln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" name="Imagen 44">
            <a:extLst>
              <a:ext uri="{FF2B5EF4-FFF2-40B4-BE49-F238E27FC236}">
                <a16:creationId xmlns:a16="http://schemas.microsoft.com/office/drawing/2014/main" id="{05E54F15-54DB-4EE6-A7D3-1BB4455398E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754717" y="5145726"/>
            <a:ext cx="1946970" cy="1401090"/>
          </a:xfrm>
          <a:prstGeom prst="rect">
            <a:avLst/>
          </a:prstGeom>
        </p:spPr>
      </p:pic>
      <p:pic>
        <p:nvPicPr>
          <p:cNvPr id="50" name="Imagen 49">
            <a:extLst>
              <a:ext uri="{FF2B5EF4-FFF2-40B4-BE49-F238E27FC236}">
                <a16:creationId xmlns:a16="http://schemas.microsoft.com/office/drawing/2014/main" id="{121093F5-3454-4760-A8DF-8C7BA15F7BC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210737" y="4312014"/>
            <a:ext cx="2392136" cy="1925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9016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7D703F6-2A4D-4851-A0AE-44CC733402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4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7D703F6-2A4D-4851-A0AE-44CC733402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ítulo 5">
            <a:extLst>
              <a:ext uri="{FF2B5EF4-FFF2-40B4-BE49-F238E27FC236}">
                <a16:creationId xmlns:a16="http://schemas.microsoft.com/office/drawing/2014/main" id="{174D0448-2934-48FA-837C-F89B4DF6CC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93C90456-F33E-4D7F-B9F8-74C22695B941}"/>
              </a:ext>
            </a:extLst>
          </p:cNvPr>
          <p:cNvSpPr/>
          <p:nvPr/>
        </p:nvSpPr>
        <p:spPr>
          <a:xfrm>
            <a:off x="1589" y="0"/>
            <a:ext cx="12188825" cy="1772816"/>
          </a:xfrm>
          <a:prstGeom prst="rect">
            <a:avLst/>
          </a:prstGeom>
          <a:solidFill>
            <a:srgbClr val="68217A"/>
          </a:solidFill>
          <a:ln>
            <a:solidFill>
              <a:srgbClr val="6821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/>
              <a:t>Consultas – 2 maneras </a:t>
            </a:r>
            <a:endParaRPr lang="es-CL" sz="3600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D9D19F68-F901-4B76-ADEC-68804511646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8338" y="2643638"/>
            <a:ext cx="4828673" cy="655641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9FF28848-975F-433F-A213-3B0831FF736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77587" y="2681141"/>
            <a:ext cx="6214413" cy="770117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27503B20-E786-4BCC-9CAA-64D61CEBDC5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96000" y="3791800"/>
            <a:ext cx="5372850" cy="971686"/>
          </a:xfrm>
          <a:prstGeom prst="rect">
            <a:avLst/>
          </a:prstGeom>
        </p:spPr>
      </p:pic>
      <p:pic>
        <p:nvPicPr>
          <p:cNvPr id="20" name="Imagen 19">
            <a:extLst>
              <a:ext uri="{FF2B5EF4-FFF2-40B4-BE49-F238E27FC236}">
                <a16:creationId xmlns:a16="http://schemas.microsoft.com/office/drawing/2014/main" id="{3AAA943E-02CF-45C2-AB00-57C1A4C5224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8338" y="3629853"/>
            <a:ext cx="5763429" cy="647790"/>
          </a:xfrm>
          <a:prstGeom prst="rect">
            <a:avLst/>
          </a:prstGeom>
        </p:spPr>
      </p:pic>
      <p:cxnSp>
        <p:nvCxnSpPr>
          <p:cNvPr id="23" name="Conector recto 22">
            <a:extLst>
              <a:ext uri="{FF2B5EF4-FFF2-40B4-BE49-F238E27FC236}">
                <a16:creationId xmlns:a16="http://schemas.microsoft.com/office/drawing/2014/main" id="{8C5C3709-D5CB-44E7-BA1D-D41A774325A3}"/>
              </a:ext>
            </a:extLst>
          </p:cNvPr>
          <p:cNvCxnSpPr>
            <a:cxnSpLocks/>
          </p:cNvCxnSpPr>
          <p:nvPr/>
        </p:nvCxnSpPr>
        <p:spPr>
          <a:xfrm>
            <a:off x="5891767" y="1772816"/>
            <a:ext cx="0" cy="4644026"/>
          </a:xfrm>
          <a:prstGeom prst="line">
            <a:avLst/>
          </a:prstGeom>
          <a:ln cmpd="sng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cto 27">
            <a:extLst>
              <a:ext uri="{FF2B5EF4-FFF2-40B4-BE49-F238E27FC236}">
                <a16:creationId xmlns:a16="http://schemas.microsoft.com/office/drawing/2014/main" id="{83F07120-CD49-437B-8529-AA9174A0A6AB}"/>
              </a:ext>
            </a:extLst>
          </p:cNvPr>
          <p:cNvCxnSpPr>
            <a:cxnSpLocks/>
          </p:cNvCxnSpPr>
          <p:nvPr/>
        </p:nvCxnSpPr>
        <p:spPr>
          <a:xfrm>
            <a:off x="0" y="2502568"/>
            <a:ext cx="12190411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uadroTexto 29">
            <a:extLst>
              <a:ext uri="{FF2B5EF4-FFF2-40B4-BE49-F238E27FC236}">
                <a16:creationId xmlns:a16="http://schemas.microsoft.com/office/drawing/2014/main" id="{2FCCC7B6-0A44-44FA-9E72-BC72FA814D61}"/>
              </a:ext>
            </a:extLst>
          </p:cNvPr>
          <p:cNvSpPr txBox="1"/>
          <p:nvPr/>
        </p:nvSpPr>
        <p:spPr>
          <a:xfrm>
            <a:off x="272716" y="1909011"/>
            <a:ext cx="46842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LINQ</a:t>
            </a:r>
            <a:r>
              <a:rPr lang="en-GB" dirty="0"/>
              <a:t>  </a:t>
            </a:r>
            <a:r>
              <a:rPr lang="en-GB" b="1" dirty="0"/>
              <a:t>METHODS</a:t>
            </a:r>
          </a:p>
        </p:txBody>
      </p:sp>
      <p:sp>
        <p:nvSpPr>
          <p:cNvPr id="32" name="CuadroTexto 31">
            <a:extLst>
              <a:ext uri="{FF2B5EF4-FFF2-40B4-BE49-F238E27FC236}">
                <a16:creationId xmlns:a16="http://schemas.microsoft.com/office/drawing/2014/main" id="{F24C81B7-696D-4075-B460-293A2D2E055E}"/>
              </a:ext>
            </a:extLst>
          </p:cNvPr>
          <p:cNvSpPr txBox="1"/>
          <p:nvPr/>
        </p:nvSpPr>
        <p:spPr>
          <a:xfrm>
            <a:off x="6300234" y="1928692"/>
            <a:ext cx="46842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LINQ QUERY SYNTAX</a:t>
            </a:r>
          </a:p>
        </p:txBody>
      </p:sp>
    </p:spTree>
    <p:extLst>
      <p:ext uri="{BB962C8B-B14F-4D97-AF65-F5344CB8AC3E}">
        <p14:creationId xmlns:p14="http://schemas.microsoft.com/office/powerpoint/2010/main" val="1588427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7D703F6-2A4D-4851-A0AE-44CC733402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1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7D703F6-2A4D-4851-A0AE-44CC733402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ítulo 5">
            <a:extLst>
              <a:ext uri="{FF2B5EF4-FFF2-40B4-BE49-F238E27FC236}">
                <a16:creationId xmlns:a16="http://schemas.microsoft.com/office/drawing/2014/main" id="{174D0448-2934-48FA-837C-F89B4DF6CC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93C90456-F33E-4D7F-B9F8-74C22695B941}"/>
              </a:ext>
            </a:extLst>
          </p:cNvPr>
          <p:cNvSpPr/>
          <p:nvPr/>
        </p:nvSpPr>
        <p:spPr>
          <a:xfrm>
            <a:off x="1589" y="0"/>
            <a:ext cx="12188825" cy="1772816"/>
          </a:xfrm>
          <a:prstGeom prst="rect">
            <a:avLst/>
          </a:prstGeom>
          <a:solidFill>
            <a:srgbClr val="68217A"/>
          </a:solidFill>
          <a:ln>
            <a:solidFill>
              <a:srgbClr val="6821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/>
              <a:t>Consultas </a:t>
            </a:r>
            <a:endParaRPr lang="es-CL" sz="3600" dirty="0"/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F716B66B-8BF2-47C7-908E-FC4044D64783}"/>
              </a:ext>
            </a:extLst>
          </p:cNvPr>
          <p:cNvSpPr txBox="1"/>
          <p:nvPr/>
        </p:nvSpPr>
        <p:spPr>
          <a:xfrm>
            <a:off x="479376" y="2420888"/>
            <a:ext cx="1008112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/>
              <a:t>Cargado de datos (</a:t>
            </a:r>
            <a:r>
              <a:rPr lang="es-ES" dirty="0" err="1"/>
              <a:t>Eager,Explicit</a:t>
            </a:r>
            <a:r>
              <a:rPr lang="es-ES" dirty="0"/>
              <a:t>, </a:t>
            </a:r>
            <a:r>
              <a:rPr lang="es-ES" dirty="0" err="1"/>
              <a:t>Lazy</a:t>
            </a:r>
            <a:r>
              <a:rPr lang="es-ES" dirty="0"/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/>
              <a:t>Client vs Server </a:t>
            </a:r>
            <a:r>
              <a:rPr lang="es-ES" dirty="0" err="1"/>
              <a:t>evaluation</a:t>
            </a:r>
            <a:endParaRPr lang="es-E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/>
              <a:t>Tracking vs No track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/>
              <a:t>Claves (</a:t>
            </a:r>
            <a:r>
              <a:rPr lang="es-ES" dirty="0" err="1"/>
              <a:t>keys</a:t>
            </a:r>
            <a:r>
              <a:rPr lang="es-ES" dirty="0"/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/>
              <a:t>Relacion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/>
              <a:t>Context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/>
              <a:t>Actualización sobre el esquema (</a:t>
            </a:r>
            <a:r>
              <a:rPr lang="es-ES" dirty="0" err="1"/>
              <a:t>Migrations</a:t>
            </a:r>
            <a:r>
              <a:rPr lang="es-ES" dirty="0"/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/>
              <a:t>Consultas directas al motor (procedimientos, vistas)</a:t>
            </a:r>
          </a:p>
          <a:p>
            <a:endParaRPr lang="es-ES" dirty="0"/>
          </a:p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0984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7D703F6-2A4D-4851-A0AE-44CC733402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5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7D703F6-2A4D-4851-A0AE-44CC733402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ítulo 5">
            <a:extLst>
              <a:ext uri="{FF2B5EF4-FFF2-40B4-BE49-F238E27FC236}">
                <a16:creationId xmlns:a16="http://schemas.microsoft.com/office/drawing/2014/main" id="{174D0448-2934-48FA-837C-F89B4DF6CC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93C90456-F33E-4D7F-B9F8-74C22695B941}"/>
              </a:ext>
            </a:extLst>
          </p:cNvPr>
          <p:cNvSpPr/>
          <p:nvPr/>
        </p:nvSpPr>
        <p:spPr>
          <a:xfrm>
            <a:off x="1589" y="0"/>
            <a:ext cx="12188825" cy="1772816"/>
          </a:xfrm>
          <a:prstGeom prst="rect">
            <a:avLst/>
          </a:prstGeom>
          <a:solidFill>
            <a:srgbClr val="68217A"/>
          </a:solidFill>
          <a:ln>
            <a:solidFill>
              <a:srgbClr val="6821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/>
              <a:t>Guardado - Insertar </a:t>
            </a:r>
            <a:endParaRPr lang="es-CL" sz="3600" dirty="0"/>
          </a:p>
        </p:txBody>
      </p:sp>
      <p:graphicFrame>
        <p:nvGraphicFramePr>
          <p:cNvPr id="3" name="Diagrama 2">
            <a:extLst>
              <a:ext uri="{FF2B5EF4-FFF2-40B4-BE49-F238E27FC236}">
                <a16:creationId xmlns:a16="http://schemas.microsoft.com/office/drawing/2014/main" id="{E0DA3DDE-7145-4496-8D6E-12B51D565FD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82674330"/>
              </p:ext>
            </p:extLst>
          </p:nvPr>
        </p:nvGraphicFramePr>
        <p:xfrm>
          <a:off x="2001078" y="1338470"/>
          <a:ext cx="8158922" cy="47998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1148257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7D703F6-2A4D-4851-A0AE-44CC733402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4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7D703F6-2A4D-4851-A0AE-44CC733402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ítulo 5">
            <a:extLst>
              <a:ext uri="{FF2B5EF4-FFF2-40B4-BE49-F238E27FC236}">
                <a16:creationId xmlns:a16="http://schemas.microsoft.com/office/drawing/2014/main" id="{174D0448-2934-48FA-837C-F89B4DF6CC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93C90456-F33E-4D7F-B9F8-74C22695B941}"/>
              </a:ext>
            </a:extLst>
          </p:cNvPr>
          <p:cNvSpPr/>
          <p:nvPr/>
        </p:nvSpPr>
        <p:spPr>
          <a:xfrm>
            <a:off x="1589" y="0"/>
            <a:ext cx="12188825" cy="1772816"/>
          </a:xfrm>
          <a:prstGeom prst="rect">
            <a:avLst/>
          </a:prstGeom>
          <a:solidFill>
            <a:srgbClr val="68217A"/>
          </a:solidFill>
          <a:ln>
            <a:solidFill>
              <a:srgbClr val="6821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/>
              <a:t>Guardado - Actualizar </a:t>
            </a:r>
            <a:endParaRPr lang="es-CL" sz="3600" dirty="0"/>
          </a:p>
        </p:txBody>
      </p:sp>
      <p:graphicFrame>
        <p:nvGraphicFramePr>
          <p:cNvPr id="3" name="Diagrama 2">
            <a:extLst>
              <a:ext uri="{FF2B5EF4-FFF2-40B4-BE49-F238E27FC236}">
                <a16:creationId xmlns:a16="http://schemas.microsoft.com/office/drawing/2014/main" id="{E0DA3DDE-7145-4496-8D6E-12B51D565FD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20796467"/>
              </p:ext>
            </p:extLst>
          </p:nvPr>
        </p:nvGraphicFramePr>
        <p:xfrm>
          <a:off x="2001078" y="1338470"/>
          <a:ext cx="8158922" cy="47998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2844895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7D703F6-2A4D-4851-A0AE-44CC733402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98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7D703F6-2A4D-4851-A0AE-44CC733402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ítulo 5">
            <a:extLst>
              <a:ext uri="{FF2B5EF4-FFF2-40B4-BE49-F238E27FC236}">
                <a16:creationId xmlns:a16="http://schemas.microsoft.com/office/drawing/2014/main" id="{174D0448-2934-48FA-837C-F89B4DF6CC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93C90456-F33E-4D7F-B9F8-74C22695B941}"/>
              </a:ext>
            </a:extLst>
          </p:cNvPr>
          <p:cNvSpPr/>
          <p:nvPr/>
        </p:nvSpPr>
        <p:spPr>
          <a:xfrm>
            <a:off x="1589" y="0"/>
            <a:ext cx="12188825" cy="1772816"/>
          </a:xfrm>
          <a:prstGeom prst="rect">
            <a:avLst/>
          </a:prstGeom>
          <a:solidFill>
            <a:srgbClr val="68217A"/>
          </a:solidFill>
          <a:ln>
            <a:solidFill>
              <a:srgbClr val="6821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/>
              <a:t>Guardado - Borrar </a:t>
            </a:r>
            <a:endParaRPr lang="es-CL" sz="3600" dirty="0"/>
          </a:p>
        </p:txBody>
      </p:sp>
      <p:graphicFrame>
        <p:nvGraphicFramePr>
          <p:cNvPr id="3" name="Diagrama 2">
            <a:extLst>
              <a:ext uri="{FF2B5EF4-FFF2-40B4-BE49-F238E27FC236}">
                <a16:creationId xmlns:a16="http://schemas.microsoft.com/office/drawing/2014/main" id="{E0DA3DDE-7145-4496-8D6E-12B51D565FD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36092841"/>
              </p:ext>
            </p:extLst>
          </p:nvPr>
        </p:nvGraphicFramePr>
        <p:xfrm>
          <a:off x="2001078" y="1338470"/>
          <a:ext cx="8158922" cy="47998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1788547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7D703F6-2A4D-4851-A0AE-44CC733402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83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7D703F6-2A4D-4851-A0AE-44CC733402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ítulo 5">
            <a:extLst>
              <a:ext uri="{FF2B5EF4-FFF2-40B4-BE49-F238E27FC236}">
                <a16:creationId xmlns:a16="http://schemas.microsoft.com/office/drawing/2014/main" id="{174D0448-2934-48FA-837C-F89B4DF6CC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93C90456-F33E-4D7F-B9F8-74C22695B941}"/>
              </a:ext>
            </a:extLst>
          </p:cNvPr>
          <p:cNvSpPr/>
          <p:nvPr/>
        </p:nvSpPr>
        <p:spPr>
          <a:xfrm>
            <a:off x="1589" y="0"/>
            <a:ext cx="12188825" cy="1772816"/>
          </a:xfrm>
          <a:prstGeom prst="rect">
            <a:avLst/>
          </a:prstGeom>
          <a:solidFill>
            <a:srgbClr val="68217A"/>
          </a:solidFill>
          <a:ln>
            <a:solidFill>
              <a:srgbClr val="6821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/>
              <a:t>Migración desde 2.2 a 3.1</a:t>
            </a:r>
            <a:endParaRPr lang="es-CL" sz="3600" dirty="0"/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0311FE2C-3B51-4713-835B-B206868A3B88}"/>
              </a:ext>
            </a:extLst>
          </p:cNvPr>
          <p:cNvSpPr txBox="1"/>
          <p:nvPr/>
        </p:nvSpPr>
        <p:spPr>
          <a:xfrm>
            <a:off x="767408" y="2348880"/>
            <a:ext cx="1036915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err="1">
                <a:latin typeface="Segoe UI" panose="020B0502040204020203" pitchFamily="34" charset="0"/>
              </a:rPr>
              <a:t>Ejecución</a:t>
            </a:r>
            <a:r>
              <a:rPr lang="en-US" dirty="0">
                <a:latin typeface="Segoe UI" panose="020B0502040204020203" pitchFamily="34" charset="0"/>
              </a:rPr>
              <a:t> de queries </a:t>
            </a:r>
            <a:r>
              <a:rPr lang="en-US" dirty="0" err="1">
                <a:latin typeface="Segoe UI" panose="020B0502040204020203" pitchFamily="34" charset="0"/>
              </a:rPr>
              <a:t>en</a:t>
            </a:r>
            <a:r>
              <a:rPr lang="en-US" dirty="0">
                <a:latin typeface="Segoe UI" panose="020B0502040204020203" pitchFamily="34" charset="0"/>
              </a:rPr>
              <a:t> el </a:t>
            </a:r>
            <a:r>
              <a:rPr lang="en-US" dirty="0" err="1">
                <a:latin typeface="Segoe UI" panose="020B0502040204020203" pitchFamily="34" charset="0"/>
              </a:rPr>
              <a:t>lado</a:t>
            </a:r>
            <a:r>
              <a:rPr lang="en-US" dirty="0">
                <a:latin typeface="Segoe UI" panose="020B0502040204020203" pitchFamily="34" charset="0"/>
              </a:rPr>
              <a:t> </a:t>
            </a:r>
            <a:r>
              <a:rPr lang="en-US" dirty="0" err="1">
                <a:latin typeface="Segoe UI" panose="020B0502040204020203" pitchFamily="34" charset="0"/>
              </a:rPr>
              <a:t>cliente</a:t>
            </a:r>
            <a:endParaRPr lang="en-US" dirty="0">
              <a:latin typeface="Segoe UI" panose="020B0502040204020203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latin typeface="Segoe UI" panose="020B0502040204020203" pitchFamily="34" charset="0"/>
              </a:rPr>
              <a:t>Una unica </a:t>
            </a:r>
            <a:r>
              <a:rPr lang="en-US" dirty="0" err="1">
                <a:latin typeface="Segoe UI" panose="020B0502040204020203" pitchFamily="34" charset="0"/>
              </a:rPr>
              <a:t>ejecución</a:t>
            </a:r>
            <a:r>
              <a:rPr lang="en-US" dirty="0">
                <a:latin typeface="Segoe UI" panose="020B0502040204020203" pitchFamily="34" charset="0"/>
              </a:rPr>
              <a:t> </a:t>
            </a:r>
            <a:r>
              <a:rPr lang="en-US" dirty="0" err="1">
                <a:latin typeface="Segoe UI" panose="020B0502040204020203" pitchFamily="34" charset="0"/>
              </a:rPr>
              <a:t>en</a:t>
            </a:r>
            <a:r>
              <a:rPr lang="en-US" dirty="0">
                <a:latin typeface="Segoe UI" panose="020B0502040204020203" pitchFamily="34" charset="0"/>
              </a:rPr>
              <a:t> por query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>
              <a:latin typeface="Segoe UI" panose="020B0502040204020203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>
              <a:latin typeface="Segoe UI" panose="020B0502040204020203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>
              <a:latin typeface="Segoe UI" panose="020B0502040204020203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latin typeface="Segoe UI" panose="020B0502040204020203" pitchFamily="34" charset="0"/>
              </a:rPr>
              <a:t>https://docs.microsoft.com/en-us/ef/core/what-is-new/ef-core-3.x/breaking-chang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5158123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7D703F6-2A4D-4851-A0AE-44CC733402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9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7D703F6-2A4D-4851-A0AE-44CC733402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ítulo 7">
            <a:extLst>
              <a:ext uri="{FF2B5EF4-FFF2-40B4-BE49-F238E27FC236}">
                <a16:creationId xmlns:a16="http://schemas.microsoft.com/office/drawing/2014/main" id="{594BE1A9-E505-4C05-9973-F0D2F8457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029" y="2828112"/>
            <a:ext cx="10969943" cy="711081"/>
          </a:xfrm>
        </p:spPr>
        <p:txBody>
          <a:bodyPr/>
          <a:lstStyle/>
          <a:p>
            <a:r>
              <a:rPr lang="es-ES" dirty="0" err="1">
                <a:solidFill>
                  <a:srgbClr val="68217A"/>
                </a:solidFill>
              </a:rPr>
              <a:t>Overview</a:t>
            </a:r>
            <a:endParaRPr lang="es-CL" dirty="0">
              <a:solidFill>
                <a:srgbClr val="68217A"/>
              </a:solidFill>
            </a:endParaRP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647BC216-F966-4D10-960E-9BEE657968DF}"/>
              </a:ext>
            </a:extLst>
          </p:cNvPr>
          <p:cNvSpPr/>
          <p:nvPr/>
        </p:nvSpPr>
        <p:spPr>
          <a:xfrm>
            <a:off x="4007769" y="0"/>
            <a:ext cx="8182645" cy="6858000"/>
          </a:xfrm>
          <a:prstGeom prst="rect">
            <a:avLst/>
          </a:prstGeom>
          <a:solidFill>
            <a:srgbClr val="68217A"/>
          </a:solidFill>
          <a:ln>
            <a:solidFill>
              <a:srgbClr val="6821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B21E3008-4F76-4CA5-A2E7-A46226C482D4}"/>
              </a:ext>
            </a:extLst>
          </p:cNvPr>
          <p:cNvSpPr txBox="1"/>
          <p:nvPr/>
        </p:nvSpPr>
        <p:spPr>
          <a:xfrm>
            <a:off x="4799856" y="1844825"/>
            <a:ext cx="474704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>
                <a:solidFill>
                  <a:schemeClr val="bg1"/>
                </a:solidFill>
              </a:rPr>
              <a:t>¿Que es EF Core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>
                <a:solidFill>
                  <a:schemeClr val="bg1"/>
                </a:solidFill>
              </a:rPr>
              <a:t>Creación de un model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>
                <a:solidFill>
                  <a:schemeClr val="bg1"/>
                </a:solidFill>
              </a:rPr>
              <a:t>Consult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>
                <a:solidFill>
                  <a:schemeClr val="bg1"/>
                </a:solidFill>
              </a:rPr>
              <a:t>Guardad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>
                <a:solidFill>
                  <a:schemeClr val="bg1"/>
                </a:solidFill>
              </a:rPr>
              <a:t>Migración desde 2.2 a 3.1 (</a:t>
            </a:r>
            <a:r>
              <a:rPr lang="es-ES" dirty="0" err="1">
                <a:solidFill>
                  <a:schemeClr val="bg1"/>
                </a:solidFill>
              </a:rPr>
              <a:t>Breaking</a:t>
            </a:r>
            <a:r>
              <a:rPr lang="es-ES" dirty="0">
                <a:solidFill>
                  <a:schemeClr val="bg1"/>
                </a:solidFill>
              </a:rPr>
              <a:t> </a:t>
            </a:r>
            <a:r>
              <a:rPr lang="es-ES" dirty="0" err="1">
                <a:solidFill>
                  <a:schemeClr val="bg1"/>
                </a:solidFill>
              </a:rPr>
              <a:t>Changes</a:t>
            </a:r>
            <a:r>
              <a:rPr lang="es-ES" dirty="0">
                <a:solidFill>
                  <a:schemeClr val="bg1"/>
                </a:solidFill>
              </a:rPr>
              <a:t>)</a:t>
            </a:r>
          </a:p>
          <a:p>
            <a:endParaRPr lang="es-CL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2019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7D703F6-2A4D-4851-A0AE-44CC733402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9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7D703F6-2A4D-4851-A0AE-44CC733402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ítulo 5">
            <a:extLst>
              <a:ext uri="{FF2B5EF4-FFF2-40B4-BE49-F238E27FC236}">
                <a16:creationId xmlns:a16="http://schemas.microsoft.com/office/drawing/2014/main" id="{174D0448-2934-48FA-837C-F89B4DF6CC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93C90456-F33E-4D7F-B9F8-74C22695B941}"/>
              </a:ext>
            </a:extLst>
          </p:cNvPr>
          <p:cNvSpPr/>
          <p:nvPr/>
        </p:nvSpPr>
        <p:spPr>
          <a:xfrm>
            <a:off x="1589" y="0"/>
            <a:ext cx="12188825" cy="1772816"/>
          </a:xfrm>
          <a:prstGeom prst="rect">
            <a:avLst/>
          </a:prstGeom>
          <a:solidFill>
            <a:srgbClr val="68217A"/>
          </a:solidFill>
          <a:ln>
            <a:solidFill>
              <a:srgbClr val="6821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/>
              <a:t>Recursos</a:t>
            </a:r>
            <a:endParaRPr lang="es-CL" sz="3600" dirty="0"/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0311FE2C-3B51-4713-835B-B206868A3B88}"/>
              </a:ext>
            </a:extLst>
          </p:cNvPr>
          <p:cNvSpPr txBox="1"/>
          <p:nvPr/>
        </p:nvSpPr>
        <p:spPr>
          <a:xfrm>
            <a:off x="767408" y="2348880"/>
            <a:ext cx="1036915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latin typeface="Segoe UI" panose="020B0502040204020203" pitchFamily="34" charset="0"/>
                <a:hlinkClick r:id="rId6"/>
              </a:rPr>
              <a:t>https://docs.microsoft.com/en-us/ef/core</a:t>
            </a:r>
            <a:endParaRPr lang="en-US" dirty="0">
              <a:latin typeface="Segoe UI" panose="020B0502040204020203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latin typeface="Segoe UI" panose="020B0502040204020203" pitchFamily="34" charset="0"/>
                <a:hlinkClick r:id="rId7"/>
              </a:rPr>
              <a:t>https://app.pluralsight.com/library/courses/getting-started-entity-framework-core/table-of-contents</a:t>
            </a:r>
            <a:endParaRPr lang="en-US" dirty="0">
              <a:latin typeface="Segoe UI" panose="020B0502040204020203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latin typeface="Segoe UI" panose="020B0502040204020203" pitchFamily="34" charset="0"/>
                <a:hlinkClick r:id="rId8"/>
              </a:rPr>
              <a:t>https://www.thereformedprogrammer.net/</a:t>
            </a:r>
            <a:r>
              <a:rPr lang="en-US" dirty="0">
                <a:latin typeface="Segoe UI" panose="020B0502040204020203" pitchFamily="34" charset="0"/>
              </a:rPr>
              <a:t>  (Author of Entity Framework in Action</a:t>
            </a:r>
            <a:r>
              <a:rPr lang="en-US" dirty="0" smtClean="0">
                <a:latin typeface="Segoe UI" panose="020B0502040204020203" pitchFamily="34" charset="0"/>
              </a:rPr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latin typeface="Segoe UI" panose="020B0502040204020203" pitchFamily="34" charset="0"/>
                <a:hlinkClick r:id="rId9"/>
              </a:rPr>
              <a:t>https://</a:t>
            </a:r>
            <a:r>
              <a:rPr lang="en-US" dirty="0" smtClean="0">
                <a:latin typeface="Segoe UI" panose="020B0502040204020203" pitchFamily="34" charset="0"/>
                <a:hlinkClick r:id="rId9"/>
              </a:rPr>
              <a:t>github.com/r0lan2/EFCoreMeetUp</a:t>
            </a:r>
            <a:r>
              <a:rPr lang="en-US" dirty="0" smtClean="0">
                <a:latin typeface="Segoe UI" panose="020B0502040204020203" pitchFamily="34" charset="0"/>
              </a:rPr>
              <a:t> (</a:t>
            </a:r>
            <a:r>
              <a:rPr lang="en-US" dirty="0" err="1" smtClean="0">
                <a:latin typeface="Segoe UI" panose="020B0502040204020203" pitchFamily="34" charset="0"/>
              </a:rPr>
              <a:t>ejemplos</a:t>
            </a:r>
            <a:r>
              <a:rPr lang="en-US" dirty="0" smtClean="0">
                <a:latin typeface="Segoe UI" panose="020B0502040204020203" pitchFamily="34" charset="0"/>
              </a:rPr>
              <a:t> de </a:t>
            </a:r>
            <a:r>
              <a:rPr lang="en-US" dirty="0" err="1" smtClean="0">
                <a:latin typeface="Segoe UI" panose="020B0502040204020203" pitchFamily="34" charset="0"/>
              </a:rPr>
              <a:t>esta</a:t>
            </a:r>
            <a:r>
              <a:rPr lang="en-US" dirty="0" smtClean="0">
                <a:latin typeface="Segoe UI" panose="020B0502040204020203" pitchFamily="34" charset="0"/>
              </a:rPr>
              <a:t> </a:t>
            </a:r>
            <a:r>
              <a:rPr lang="en-US" dirty="0" err="1" smtClean="0">
                <a:latin typeface="Segoe UI" panose="020B0502040204020203" pitchFamily="34" charset="0"/>
              </a:rPr>
              <a:t>charla</a:t>
            </a:r>
            <a:r>
              <a:rPr lang="en-US" dirty="0" smtClean="0">
                <a:latin typeface="Segoe UI" panose="020B0502040204020203" pitchFamily="34" charset="0"/>
              </a:rPr>
              <a:t>)</a:t>
            </a:r>
          </a:p>
          <a:p>
            <a:endParaRPr lang="en-US" dirty="0">
              <a:latin typeface="Segoe UI" panose="020B0502040204020203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>
              <a:latin typeface="Segoe UI" panose="020B0502040204020203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>
              <a:latin typeface="Segoe UI" panose="020B0502040204020203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362855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7D703F6-2A4D-4851-A0AE-44CC733402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2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7D703F6-2A4D-4851-A0AE-44CC733402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ítulo 5">
            <a:extLst>
              <a:ext uri="{FF2B5EF4-FFF2-40B4-BE49-F238E27FC236}">
                <a16:creationId xmlns:a16="http://schemas.microsoft.com/office/drawing/2014/main" id="{174D0448-2934-48FA-837C-F89B4DF6CC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93C90456-F33E-4D7F-B9F8-74C22695B941}"/>
              </a:ext>
            </a:extLst>
          </p:cNvPr>
          <p:cNvSpPr/>
          <p:nvPr/>
        </p:nvSpPr>
        <p:spPr>
          <a:xfrm>
            <a:off x="1589" y="0"/>
            <a:ext cx="12188825" cy="1772816"/>
          </a:xfrm>
          <a:prstGeom prst="rect">
            <a:avLst/>
          </a:prstGeom>
          <a:solidFill>
            <a:srgbClr val="68217A"/>
          </a:solidFill>
          <a:ln>
            <a:solidFill>
              <a:srgbClr val="6821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 smtClean="0"/>
              <a:t>Propuestas para otras charlas</a:t>
            </a:r>
            <a:endParaRPr lang="es-CL" sz="3600" dirty="0"/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0311FE2C-3B51-4713-835B-B206868A3B88}"/>
              </a:ext>
            </a:extLst>
          </p:cNvPr>
          <p:cNvSpPr txBox="1"/>
          <p:nvPr/>
        </p:nvSpPr>
        <p:spPr>
          <a:xfrm>
            <a:off x="741031" y="2331296"/>
            <a:ext cx="1036915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>
                <a:latin typeface="Segoe UI" panose="020B0502040204020203" pitchFamily="34" charset="0"/>
              </a:rPr>
              <a:t>Repository Pattern / </a:t>
            </a:r>
            <a:r>
              <a:rPr lang="en-US" dirty="0" err="1" smtClean="0">
                <a:latin typeface="Segoe UI" panose="020B0502040204020203" pitchFamily="34" charset="0"/>
              </a:rPr>
              <a:t>UoW</a:t>
            </a:r>
            <a:r>
              <a:rPr lang="en-US" dirty="0" smtClean="0">
                <a:latin typeface="Segoe UI" panose="020B0502040204020203" pitchFamily="34" charset="0"/>
              </a:rPr>
              <a:t> Patter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>
                <a:latin typeface="Segoe UI" panose="020B0502040204020203" pitchFamily="34" charset="0"/>
              </a:rPr>
              <a:t>CQ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err="1" smtClean="0">
                <a:latin typeface="Segoe UI" panose="020B0502040204020203" pitchFamily="34" charset="0"/>
              </a:rPr>
              <a:t>Perfomance</a:t>
            </a:r>
            <a:r>
              <a:rPr lang="en-US" dirty="0" smtClean="0">
                <a:latin typeface="Segoe UI" panose="020B0502040204020203" pitchFamily="34" charset="0"/>
              </a:rPr>
              <a:t> </a:t>
            </a:r>
            <a:r>
              <a:rPr lang="en-US" dirty="0" err="1" smtClean="0">
                <a:latin typeface="Segoe UI" panose="020B0502040204020203" pitchFamily="34" charset="0"/>
              </a:rPr>
              <a:t>en</a:t>
            </a:r>
            <a:r>
              <a:rPr lang="en-US" dirty="0" smtClean="0">
                <a:latin typeface="Segoe UI" panose="020B0502040204020203" pitchFamily="34" charset="0"/>
              </a:rPr>
              <a:t> EF Cor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>
                <a:latin typeface="Segoe UI" panose="020B0502040204020203" pitchFamily="34" charset="0"/>
              </a:rPr>
              <a:t>Deployments y control de </a:t>
            </a:r>
            <a:r>
              <a:rPr lang="en-US" dirty="0" err="1" smtClean="0">
                <a:latin typeface="Segoe UI" panose="020B0502040204020203" pitchFamily="34" charset="0"/>
              </a:rPr>
              <a:t>cambios</a:t>
            </a:r>
            <a:r>
              <a:rPr lang="en-US" dirty="0" smtClean="0">
                <a:latin typeface="Segoe UI" panose="020B0502040204020203" pitchFamily="34" charset="0"/>
              </a:rPr>
              <a:t> </a:t>
            </a:r>
            <a:r>
              <a:rPr lang="en-US" dirty="0" err="1" smtClean="0">
                <a:latin typeface="Segoe UI" panose="020B0502040204020203" pitchFamily="34" charset="0"/>
              </a:rPr>
              <a:t>usando</a:t>
            </a:r>
            <a:r>
              <a:rPr lang="en-US" dirty="0" smtClean="0">
                <a:latin typeface="Segoe UI" panose="020B0502040204020203" pitchFamily="34" charset="0"/>
              </a:rPr>
              <a:t> scripts </a:t>
            </a:r>
            <a:r>
              <a:rPr lang="en-US" dirty="0" err="1" smtClean="0">
                <a:latin typeface="Segoe UI" panose="020B0502040204020203" pitchFamily="34" charset="0"/>
              </a:rPr>
              <a:t>sql</a:t>
            </a:r>
            <a:endParaRPr lang="en-US" dirty="0" smtClean="0">
              <a:latin typeface="Segoe UI" panose="020B0502040204020203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>
                <a:latin typeface="Segoe UI" panose="020B0502040204020203" pitchFamily="34" charset="0"/>
              </a:rPr>
              <a:t>Lo </a:t>
            </a:r>
            <a:r>
              <a:rPr lang="en-US" dirty="0" err="1" smtClean="0">
                <a:latin typeface="Segoe UI" panose="020B0502040204020203" pitchFamily="34" charset="0"/>
              </a:rPr>
              <a:t>nuevo</a:t>
            </a:r>
            <a:r>
              <a:rPr lang="en-US" dirty="0" smtClean="0">
                <a:latin typeface="Segoe UI" panose="020B0502040204020203" pitchFamily="34" charset="0"/>
              </a:rPr>
              <a:t> </a:t>
            </a:r>
            <a:r>
              <a:rPr lang="en-US" dirty="0" err="1" smtClean="0">
                <a:latin typeface="Segoe UI" panose="020B0502040204020203" pitchFamily="34" charset="0"/>
              </a:rPr>
              <a:t>en</a:t>
            </a:r>
            <a:r>
              <a:rPr lang="en-US" dirty="0" smtClean="0">
                <a:latin typeface="Segoe UI" panose="020B0502040204020203" pitchFamily="34" charset="0"/>
              </a:rPr>
              <a:t> EF Core 5</a:t>
            </a:r>
          </a:p>
          <a:p>
            <a:endParaRPr lang="en-US" dirty="0">
              <a:latin typeface="Segoe UI" panose="020B0502040204020203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>
              <a:latin typeface="Segoe UI" panose="020B0502040204020203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>
              <a:latin typeface="Segoe UI" panose="020B0502040204020203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19342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7D703F6-2A4D-4851-A0AE-44CC733402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3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7D703F6-2A4D-4851-A0AE-44CC733402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ítulo 5">
            <a:extLst>
              <a:ext uri="{FF2B5EF4-FFF2-40B4-BE49-F238E27FC236}">
                <a16:creationId xmlns:a16="http://schemas.microsoft.com/office/drawing/2014/main" id="{174D0448-2934-48FA-837C-F89B4DF6CC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93C90456-F33E-4D7F-B9F8-74C22695B941}"/>
              </a:ext>
            </a:extLst>
          </p:cNvPr>
          <p:cNvSpPr/>
          <p:nvPr/>
        </p:nvSpPr>
        <p:spPr>
          <a:xfrm>
            <a:off x="1589" y="0"/>
            <a:ext cx="12188825" cy="1772816"/>
          </a:xfrm>
          <a:prstGeom prst="rect">
            <a:avLst/>
          </a:prstGeom>
          <a:solidFill>
            <a:srgbClr val="68217A"/>
          </a:solidFill>
          <a:ln>
            <a:solidFill>
              <a:srgbClr val="6821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/>
              <a:t>Evolución de EF Core</a:t>
            </a:r>
            <a:endParaRPr lang="es-CL" sz="3600" dirty="0"/>
          </a:p>
        </p:txBody>
      </p:sp>
      <p:graphicFrame>
        <p:nvGraphicFramePr>
          <p:cNvPr id="8" name="Diagrama 7">
            <a:extLst>
              <a:ext uri="{FF2B5EF4-FFF2-40B4-BE49-F238E27FC236}">
                <a16:creationId xmlns:a16="http://schemas.microsoft.com/office/drawing/2014/main" id="{DCA5169C-E1AA-4BD4-9026-7A250F5E265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5296775"/>
              </p:ext>
            </p:extLst>
          </p:nvPr>
        </p:nvGraphicFramePr>
        <p:xfrm>
          <a:off x="2032000" y="71966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9" name="CuadroTexto 8">
            <a:extLst>
              <a:ext uri="{FF2B5EF4-FFF2-40B4-BE49-F238E27FC236}">
                <a16:creationId xmlns:a16="http://schemas.microsoft.com/office/drawing/2014/main" id="{F4374D32-FA85-4698-845C-AE6B001BE753}"/>
              </a:ext>
            </a:extLst>
          </p:cNvPr>
          <p:cNvSpPr txBox="1"/>
          <p:nvPr/>
        </p:nvSpPr>
        <p:spPr>
          <a:xfrm>
            <a:off x="2660904" y="3995928"/>
            <a:ext cx="13441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2016</a:t>
            </a:r>
          </a:p>
          <a:p>
            <a:endParaRPr lang="en-GB" dirty="0"/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5985AEED-F709-40EB-BF0E-4CC899A5BA21}"/>
              </a:ext>
            </a:extLst>
          </p:cNvPr>
          <p:cNvSpPr txBox="1"/>
          <p:nvPr/>
        </p:nvSpPr>
        <p:spPr>
          <a:xfrm>
            <a:off x="4526788" y="3995927"/>
            <a:ext cx="13441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2017</a:t>
            </a:r>
          </a:p>
          <a:p>
            <a:endParaRPr lang="en-GB" dirty="0"/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CB256B65-1BBD-4F1A-B6EF-9952914295A4}"/>
              </a:ext>
            </a:extLst>
          </p:cNvPr>
          <p:cNvSpPr txBox="1"/>
          <p:nvPr/>
        </p:nvSpPr>
        <p:spPr>
          <a:xfrm>
            <a:off x="6499860" y="3995927"/>
            <a:ext cx="13441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2019</a:t>
            </a:r>
          </a:p>
          <a:p>
            <a:endParaRPr lang="en-GB" dirty="0"/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97119FFF-DD2D-4CC7-934C-47FBA95CE363}"/>
              </a:ext>
            </a:extLst>
          </p:cNvPr>
          <p:cNvSpPr txBox="1"/>
          <p:nvPr/>
        </p:nvSpPr>
        <p:spPr>
          <a:xfrm>
            <a:off x="8530271" y="3995927"/>
            <a:ext cx="13441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2020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7888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7D703F6-2A4D-4851-A0AE-44CC733402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7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7D703F6-2A4D-4851-A0AE-44CC733402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ítulo 5">
            <a:extLst>
              <a:ext uri="{FF2B5EF4-FFF2-40B4-BE49-F238E27FC236}">
                <a16:creationId xmlns:a16="http://schemas.microsoft.com/office/drawing/2014/main" id="{174D0448-2934-48FA-837C-F89B4DF6CC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93C90456-F33E-4D7F-B9F8-74C22695B941}"/>
              </a:ext>
            </a:extLst>
          </p:cNvPr>
          <p:cNvSpPr/>
          <p:nvPr/>
        </p:nvSpPr>
        <p:spPr>
          <a:xfrm>
            <a:off x="1589" y="0"/>
            <a:ext cx="12188825" cy="1772816"/>
          </a:xfrm>
          <a:prstGeom prst="rect">
            <a:avLst/>
          </a:prstGeom>
          <a:solidFill>
            <a:srgbClr val="68217A"/>
          </a:solidFill>
          <a:ln>
            <a:solidFill>
              <a:srgbClr val="6821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/>
              <a:t>Estructura de una solución con EF Core</a:t>
            </a:r>
            <a:endParaRPr lang="es-CL" sz="3600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2B14E2A0-453E-4AC2-A9BA-F810FBA61D4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94727" y="2365353"/>
            <a:ext cx="9202546" cy="3054787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73107DA6-CD0C-45D5-A379-7D875A3CA4C3}"/>
              </a:ext>
            </a:extLst>
          </p:cNvPr>
          <p:cNvSpPr txBox="1"/>
          <p:nvPr/>
        </p:nvSpPr>
        <p:spPr>
          <a:xfrm>
            <a:off x="3043107" y="3242236"/>
            <a:ext cx="610299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800" dirty="0"/>
              <a:t>Flujo de trabaj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225292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7D703F6-2A4D-4851-A0AE-44CC733402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9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7D703F6-2A4D-4851-A0AE-44CC733402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ítulo 5">
            <a:extLst>
              <a:ext uri="{FF2B5EF4-FFF2-40B4-BE49-F238E27FC236}">
                <a16:creationId xmlns:a16="http://schemas.microsoft.com/office/drawing/2014/main" id="{174D0448-2934-48FA-837C-F89B4DF6CC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93C90456-F33E-4D7F-B9F8-74C22695B941}"/>
              </a:ext>
            </a:extLst>
          </p:cNvPr>
          <p:cNvSpPr/>
          <p:nvPr/>
        </p:nvSpPr>
        <p:spPr>
          <a:xfrm>
            <a:off x="1589" y="0"/>
            <a:ext cx="12188825" cy="1772816"/>
          </a:xfrm>
          <a:prstGeom prst="rect">
            <a:avLst/>
          </a:prstGeom>
          <a:solidFill>
            <a:srgbClr val="68217A"/>
          </a:solidFill>
          <a:ln>
            <a:solidFill>
              <a:srgbClr val="6821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 err="1"/>
              <a:t>DataContext</a:t>
            </a:r>
            <a:r>
              <a:rPr lang="es-ES" sz="3600" dirty="0"/>
              <a:t>: Configuraciones</a:t>
            </a:r>
            <a:endParaRPr lang="es-CL" sz="3600" dirty="0"/>
          </a:p>
        </p:txBody>
      </p:sp>
      <p:graphicFrame>
        <p:nvGraphicFramePr>
          <p:cNvPr id="2" name="Diagrama 1">
            <a:extLst>
              <a:ext uri="{FF2B5EF4-FFF2-40B4-BE49-F238E27FC236}">
                <a16:creationId xmlns:a16="http://schemas.microsoft.com/office/drawing/2014/main" id="{277AFDC1-2B0E-4596-8BBB-103588A26E5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0617203"/>
              </p:ext>
            </p:extLst>
          </p:nvPr>
        </p:nvGraphicFramePr>
        <p:xfrm>
          <a:off x="2001078" y="1338470"/>
          <a:ext cx="8158922" cy="47998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93682330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7D703F6-2A4D-4851-A0AE-44CC733402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7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7D703F6-2A4D-4851-A0AE-44CC733402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ítulo 5">
            <a:extLst>
              <a:ext uri="{FF2B5EF4-FFF2-40B4-BE49-F238E27FC236}">
                <a16:creationId xmlns:a16="http://schemas.microsoft.com/office/drawing/2014/main" id="{174D0448-2934-48FA-837C-F89B4DF6CC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93C90456-F33E-4D7F-B9F8-74C22695B941}"/>
              </a:ext>
            </a:extLst>
          </p:cNvPr>
          <p:cNvSpPr/>
          <p:nvPr/>
        </p:nvSpPr>
        <p:spPr>
          <a:xfrm>
            <a:off x="1589" y="0"/>
            <a:ext cx="12188825" cy="1772816"/>
          </a:xfrm>
          <a:prstGeom prst="rect">
            <a:avLst/>
          </a:prstGeom>
          <a:solidFill>
            <a:srgbClr val="68217A"/>
          </a:solidFill>
          <a:ln>
            <a:solidFill>
              <a:srgbClr val="6821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 err="1"/>
              <a:t>DataContext</a:t>
            </a:r>
            <a:r>
              <a:rPr lang="es-ES" sz="3600" dirty="0"/>
              <a:t>: Flujo de trabajo</a:t>
            </a:r>
            <a:endParaRPr lang="es-CL" sz="3600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6FB022B2-3EAC-46B7-A60E-8844E2FB175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25982" y="1772816"/>
            <a:ext cx="7336132" cy="4822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008932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7D703F6-2A4D-4851-A0AE-44CC733402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7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7D703F6-2A4D-4851-A0AE-44CC733402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ítulo 5">
            <a:extLst>
              <a:ext uri="{FF2B5EF4-FFF2-40B4-BE49-F238E27FC236}">
                <a16:creationId xmlns:a16="http://schemas.microsoft.com/office/drawing/2014/main" id="{174D0448-2934-48FA-837C-F89B4DF6CC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93C90456-F33E-4D7F-B9F8-74C22695B941}"/>
              </a:ext>
            </a:extLst>
          </p:cNvPr>
          <p:cNvSpPr/>
          <p:nvPr/>
        </p:nvSpPr>
        <p:spPr>
          <a:xfrm>
            <a:off x="1589" y="0"/>
            <a:ext cx="12188825" cy="1772816"/>
          </a:xfrm>
          <a:prstGeom prst="rect">
            <a:avLst/>
          </a:prstGeom>
          <a:solidFill>
            <a:srgbClr val="68217A"/>
          </a:solidFill>
          <a:ln>
            <a:solidFill>
              <a:srgbClr val="6821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/>
              <a:t>Consultas en EF </a:t>
            </a:r>
            <a:endParaRPr lang="es-CL" sz="3600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14B45E59-19DB-416F-952E-533F8FB57FB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44283" y="1879425"/>
            <a:ext cx="7762326" cy="4990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038039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7D703F6-2A4D-4851-A0AE-44CC733402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9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7D703F6-2A4D-4851-A0AE-44CC733402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ítulo 5">
            <a:extLst>
              <a:ext uri="{FF2B5EF4-FFF2-40B4-BE49-F238E27FC236}">
                <a16:creationId xmlns:a16="http://schemas.microsoft.com/office/drawing/2014/main" id="{174D0448-2934-48FA-837C-F89B4DF6CC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93C90456-F33E-4D7F-B9F8-74C22695B941}"/>
              </a:ext>
            </a:extLst>
          </p:cNvPr>
          <p:cNvSpPr/>
          <p:nvPr/>
        </p:nvSpPr>
        <p:spPr>
          <a:xfrm>
            <a:off x="1589" y="0"/>
            <a:ext cx="12188825" cy="1772816"/>
          </a:xfrm>
          <a:prstGeom prst="rect">
            <a:avLst/>
          </a:prstGeom>
          <a:solidFill>
            <a:srgbClr val="68217A"/>
          </a:solidFill>
          <a:ln>
            <a:solidFill>
              <a:srgbClr val="6821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/>
              <a:t>Actualización sobre EF</a:t>
            </a:r>
            <a:endParaRPr lang="es-CL" sz="3600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8D70AF75-0304-4059-B076-058A5A4C5E0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37282" y="2137940"/>
            <a:ext cx="8239170" cy="4274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879622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7D703F6-2A4D-4851-A0AE-44CC733402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63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7D703F6-2A4D-4851-A0AE-44CC733402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ítulo 5">
            <a:extLst>
              <a:ext uri="{FF2B5EF4-FFF2-40B4-BE49-F238E27FC236}">
                <a16:creationId xmlns:a16="http://schemas.microsoft.com/office/drawing/2014/main" id="{174D0448-2934-48FA-837C-F89B4DF6CC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93C90456-F33E-4D7F-B9F8-74C22695B941}"/>
              </a:ext>
            </a:extLst>
          </p:cNvPr>
          <p:cNvSpPr/>
          <p:nvPr/>
        </p:nvSpPr>
        <p:spPr>
          <a:xfrm>
            <a:off x="1589" y="0"/>
            <a:ext cx="12188825" cy="1772816"/>
          </a:xfrm>
          <a:prstGeom prst="rect">
            <a:avLst/>
          </a:prstGeom>
          <a:solidFill>
            <a:srgbClr val="68217A"/>
          </a:solidFill>
          <a:ln>
            <a:solidFill>
              <a:srgbClr val="6821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/>
              <a:t>Actualización sobre EF</a:t>
            </a:r>
            <a:endParaRPr lang="es-CL" sz="3600" dirty="0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6ACC652C-7CD5-4ED3-9F58-6B9D19D6B2B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66912" y="2137941"/>
            <a:ext cx="7866201" cy="3900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866602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7D703F6-2A4D-4851-A0AE-44CC733402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1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7D703F6-2A4D-4851-A0AE-44CC733402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ítulo 5">
            <a:extLst>
              <a:ext uri="{FF2B5EF4-FFF2-40B4-BE49-F238E27FC236}">
                <a16:creationId xmlns:a16="http://schemas.microsoft.com/office/drawing/2014/main" id="{174D0448-2934-48FA-837C-F89B4DF6CC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93C90456-F33E-4D7F-B9F8-74C22695B941}"/>
              </a:ext>
            </a:extLst>
          </p:cNvPr>
          <p:cNvSpPr/>
          <p:nvPr/>
        </p:nvSpPr>
        <p:spPr>
          <a:xfrm>
            <a:off x="1589" y="0"/>
            <a:ext cx="12188825" cy="1772816"/>
          </a:xfrm>
          <a:prstGeom prst="rect">
            <a:avLst/>
          </a:prstGeom>
          <a:solidFill>
            <a:srgbClr val="68217A"/>
          </a:solidFill>
          <a:ln>
            <a:solidFill>
              <a:srgbClr val="6821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/>
              <a:t>¿Por qué </a:t>
            </a:r>
            <a:r>
              <a:rPr lang="es-ES" sz="3600" dirty="0" err="1"/>
              <a:t>Entity</a:t>
            </a:r>
            <a:r>
              <a:rPr lang="es-ES" sz="3600" dirty="0"/>
              <a:t> Framework Core?</a:t>
            </a:r>
            <a:endParaRPr lang="es-CL" sz="3600" dirty="0"/>
          </a:p>
        </p:txBody>
      </p:sp>
      <p:sp>
        <p:nvSpPr>
          <p:cNvPr id="2" name="Rectángulo: esquinas redondeadas 1">
            <a:extLst>
              <a:ext uri="{FF2B5EF4-FFF2-40B4-BE49-F238E27FC236}">
                <a16:creationId xmlns:a16="http://schemas.microsoft.com/office/drawing/2014/main" id="{2736FC4E-72AE-46F6-814E-1106B0E51417}"/>
              </a:ext>
            </a:extLst>
          </p:cNvPr>
          <p:cNvSpPr/>
          <p:nvPr/>
        </p:nvSpPr>
        <p:spPr>
          <a:xfrm>
            <a:off x="1199457" y="2631508"/>
            <a:ext cx="3252723" cy="1512168"/>
          </a:xfrm>
          <a:prstGeom prst="roundRect">
            <a:avLst/>
          </a:prstGeom>
          <a:noFill/>
          <a:ln>
            <a:solidFill>
              <a:srgbClr val="6821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>
                <a:solidFill>
                  <a:srgbClr val="68217A"/>
                </a:solidFill>
              </a:rPr>
              <a:t>Productividad</a:t>
            </a:r>
            <a:endParaRPr lang="es-CL" dirty="0">
              <a:solidFill>
                <a:srgbClr val="68217A"/>
              </a:solidFill>
            </a:endParaRPr>
          </a:p>
        </p:txBody>
      </p:sp>
      <p:sp>
        <p:nvSpPr>
          <p:cNvPr id="3" name="Rectángulo: esquinas redondeadas 2">
            <a:extLst>
              <a:ext uri="{FF2B5EF4-FFF2-40B4-BE49-F238E27FC236}">
                <a16:creationId xmlns:a16="http://schemas.microsoft.com/office/drawing/2014/main" id="{571302E4-884C-4D6D-974F-4AEA73C2D5FA}"/>
              </a:ext>
            </a:extLst>
          </p:cNvPr>
          <p:cNvSpPr/>
          <p:nvPr/>
        </p:nvSpPr>
        <p:spPr>
          <a:xfrm>
            <a:off x="6384031" y="2672916"/>
            <a:ext cx="3252723" cy="1512168"/>
          </a:xfrm>
          <a:prstGeom prst="roundRect">
            <a:avLst/>
          </a:prstGeom>
          <a:solidFill>
            <a:schemeClr val="bg1"/>
          </a:solidFill>
          <a:ln>
            <a:solidFill>
              <a:srgbClr val="6821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>
                <a:solidFill>
                  <a:srgbClr val="68217A"/>
                </a:solidFill>
              </a:rPr>
              <a:t>Foco en el dominio</a:t>
            </a:r>
            <a:endParaRPr lang="es-CL" dirty="0">
              <a:solidFill>
                <a:srgbClr val="68217A"/>
              </a:solidFill>
            </a:endParaRPr>
          </a:p>
        </p:txBody>
      </p:sp>
      <p:sp>
        <p:nvSpPr>
          <p:cNvPr id="5" name="Rectángulo: esquinas redondeadas 4">
            <a:extLst>
              <a:ext uri="{FF2B5EF4-FFF2-40B4-BE49-F238E27FC236}">
                <a16:creationId xmlns:a16="http://schemas.microsoft.com/office/drawing/2014/main" id="{8078B9FF-CD13-4A8E-8502-E1DDA980A54E}"/>
              </a:ext>
            </a:extLst>
          </p:cNvPr>
          <p:cNvSpPr/>
          <p:nvPr/>
        </p:nvSpPr>
        <p:spPr>
          <a:xfrm>
            <a:off x="1199456" y="4725144"/>
            <a:ext cx="3252723" cy="1512168"/>
          </a:xfrm>
          <a:prstGeom prst="roundRect">
            <a:avLst/>
          </a:prstGeom>
          <a:noFill/>
          <a:ln>
            <a:solidFill>
              <a:srgbClr val="6821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>
                <a:solidFill>
                  <a:srgbClr val="68217A"/>
                </a:solidFill>
              </a:rPr>
              <a:t>Fácil Uso</a:t>
            </a:r>
            <a:endParaRPr lang="es-CL" dirty="0">
              <a:solidFill>
                <a:srgbClr val="68217A"/>
              </a:solidFill>
            </a:endParaRPr>
          </a:p>
        </p:txBody>
      </p:sp>
      <p:sp>
        <p:nvSpPr>
          <p:cNvPr id="8" name="Rectángulo: esquinas redondeadas 7">
            <a:extLst>
              <a:ext uri="{FF2B5EF4-FFF2-40B4-BE49-F238E27FC236}">
                <a16:creationId xmlns:a16="http://schemas.microsoft.com/office/drawing/2014/main" id="{3681EF96-F0A1-40E3-921E-113C9EBB9D8D}"/>
              </a:ext>
            </a:extLst>
          </p:cNvPr>
          <p:cNvSpPr/>
          <p:nvPr/>
        </p:nvSpPr>
        <p:spPr>
          <a:xfrm>
            <a:off x="6384032" y="4789832"/>
            <a:ext cx="3252723" cy="1512168"/>
          </a:xfrm>
          <a:prstGeom prst="roundRect">
            <a:avLst/>
          </a:prstGeom>
          <a:solidFill>
            <a:schemeClr val="bg1"/>
          </a:solidFill>
          <a:ln>
            <a:solidFill>
              <a:srgbClr val="6821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>
                <a:solidFill>
                  <a:srgbClr val="68217A"/>
                </a:solidFill>
              </a:rPr>
              <a:t>Miembro del </a:t>
            </a:r>
            <a:r>
              <a:rPr lang="es-ES" dirty="0" err="1">
                <a:solidFill>
                  <a:srgbClr val="68217A"/>
                </a:solidFill>
              </a:rPr>
              <a:t>Stack</a:t>
            </a:r>
            <a:r>
              <a:rPr lang="es-ES" dirty="0">
                <a:solidFill>
                  <a:srgbClr val="68217A"/>
                </a:solidFill>
              </a:rPr>
              <a:t> .NET</a:t>
            </a:r>
            <a:endParaRPr lang="es-CL" dirty="0">
              <a:solidFill>
                <a:srgbClr val="68217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63185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7D703F6-2A4D-4851-A0AE-44CC733402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3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7D703F6-2A4D-4851-A0AE-44CC733402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ítulo 5">
            <a:extLst>
              <a:ext uri="{FF2B5EF4-FFF2-40B4-BE49-F238E27FC236}">
                <a16:creationId xmlns:a16="http://schemas.microsoft.com/office/drawing/2014/main" id="{174D0448-2934-48FA-837C-F89B4DF6CC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93C90456-F33E-4D7F-B9F8-74C22695B941}"/>
              </a:ext>
            </a:extLst>
          </p:cNvPr>
          <p:cNvSpPr/>
          <p:nvPr/>
        </p:nvSpPr>
        <p:spPr>
          <a:xfrm>
            <a:off x="1589" y="0"/>
            <a:ext cx="12188825" cy="1772816"/>
          </a:xfrm>
          <a:prstGeom prst="rect">
            <a:avLst/>
          </a:prstGeom>
          <a:solidFill>
            <a:srgbClr val="68217A"/>
          </a:solidFill>
          <a:ln>
            <a:solidFill>
              <a:srgbClr val="6821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/>
              <a:t>¿Qué es </a:t>
            </a:r>
            <a:r>
              <a:rPr lang="es-ES" sz="3600" dirty="0" err="1"/>
              <a:t>Entity</a:t>
            </a:r>
            <a:r>
              <a:rPr lang="es-ES" sz="3600" dirty="0"/>
              <a:t> Framework Core?</a:t>
            </a:r>
            <a:endParaRPr lang="es-CL" sz="3600" dirty="0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13FAB000-19C3-4620-9CC0-3BD792953E8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59697" y="2204864"/>
            <a:ext cx="5877745" cy="3715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782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7D703F6-2A4D-4851-A0AE-44CC733402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5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7D703F6-2A4D-4851-A0AE-44CC733402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ítulo 5">
            <a:extLst>
              <a:ext uri="{FF2B5EF4-FFF2-40B4-BE49-F238E27FC236}">
                <a16:creationId xmlns:a16="http://schemas.microsoft.com/office/drawing/2014/main" id="{174D0448-2934-48FA-837C-F89B4DF6CC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93C90456-F33E-4D7F-B9F8-74C22695B941}"/>
              </a:ext>
            </a:extLst>
          </p:cNvPr>
          <p:cNvSpPr/>
          <p:nvPr/>
        </p:nvSpPr>
        <p:spPr>
          <a:xfrm>
            <a:off x="1589" y="0"/>
            <a:ext cx="12188825" cy="1772816"/>
          </a:xfrm>
          <a:prstGeom prst="rect">
            <a:avLst/>
          </a:prstGeom>
          <a:solidFill>
            <a:srgbClr val="68217A"/>
          </a:solidFill>
          <a:ln>
            <a:solidFill>
              <a:srgbClr val="6821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/>
              <a:t>¿Qué es </a:t>
            </a:r>
            <a:r>
              <a:rPr lang="es-ES" sz="3600" dirty="0" err="1"/>
              <a:t>Entity</a:t>
            </a:r>
            <a:r>
              <a:rPr lang="es-ES" sz="3600" dirty="0"/>
              <a:t> Framework Core?</a:t>
            </a:r>
            <a:endParaRPr lang="es-CL" sz="3600" dirty="0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B64E0756-F115-4995-BA50-67917ADB7DD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3917" y="1905369"/>
            <a:ext cx="9011908" cy="4925112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A0373860-BD82-4ED9-BF66-5C5B6B4ABD0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32287" y="1941689"/>
            <a:ext cx="5772956" cy="197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8321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7D703F6-2A4D-4851-A0AE-44CC733402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9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7D703F6-2A4D-4851-A0AE-44CC733402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ítulo 5">
            <a:extLst>
              <a:ext uri="{FF2B5EF4-FFF2-40B4-BE49-F238E27FC236}">
                <a16:creationId xmlns:a16="http://schemas.microsoft.com/office/drawing/2014/main" id="{174D0448-2934-48FA-837C-F89B4DF6CC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93C90456-F33E-4D7F-B9F8-74C22695B941}"/>
              </a:ext>
            </a:extLst>
          </p:cNvPr>
          <p:cNvSpPr/>
          <p:nvPr/>
        </p:nvSpPr>
        <p:spPr>
          <a:xfrm>
            <a:off x="1589" y="0"/>
            <a:ext cx="12188825" cy="1772816"/>
          </a:xfrm>
          <a:prstGeom prst="rect">
            <a:avLst/>
          </a:prstGeom>
          <a:solidFill>
            <a:srgbClr val="68217A"/>
          </a:solidFill>
          <a:ln>
            <a:solidFill>
              <a:srgbClr val="6821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/>
              <a:t>¿Qué es </a:t>
            </a:r>
            <a:r>
              <a:rPr lang="es-ES" sz="3600" dirty="0" err="1"/>
              <a:t>Entity</a:t>
            </a:r>
            <a:r>
              <a:rPr lang="es-ES" sz="3600" dirty="0"/>
              <a:t> Framework Core?</a:t>
            </a:r>
            <a:endParaRPr lang="es-CL" sz="3600" dirty="0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B64E0756-F115-4995-BA50-67917ADB7DD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7561" y="3140863"/>
            <a:ext cx="4735991" cy="2588275"/>
          </a:xfrm>
          <a:prstGeom prst="rect">
            <a:avLst/>
          </a:prstGeom>
        </p:spPr>
      </p:pic>
      <p:pic>
        <p:nvPicPr>
          <p:cNvPr id="3" name="Imagen 2">
            <a:extLst>
              <a:ext uri="{FF2B5EF4-FFF2-40B4-BE49-F238E27FC236}">
                <a16:creationId xmlns:a16="http://schemas.microsoft.com/office/drawing/2014/main" id="{152F3162-4F8D-44A8-A880-F7EBDF33E2C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32955" y="3606325"/>
            <a:ext cx="4858428" cy="409632"/>
          </a:xfrm>
          <a:prstGeom prst="rect">
            <a:avLst/>
          </a:prstGeom>
        </p:spPr>
      </p:pic>
      <p:sp>
        <p:nvSpPr>
          <p:cNvPr id="5" name="Flecha: a la derecha 4">
            <a:extLst>
              <a:ext uri="{FF2B5EF4-FFF2-40B4-BE49-F238E27FC236}">
                <a16:creationId xmlns:a16="http://schemas.microsoft.com/office/drawing/2014/main" id="{485F84DA-D6B9-44E6-93DB-4D06A4288365}"/>
              </a:ext>
            </a:extLst>
          </p:cNvPr>
          <p:cNvSpPr/>
          <p:nvPr/>
        </p:nvSpPr>
        <p:spPr>
          <a:xfrm>
            <a:off x="5212935" y="3606325"/>
            <a:ext cx="2120637" cy="409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FA8CD38D-8162-42A0-9351-01EBD4A9E76A}"/>
              </a:ext>
            </a:extLst>
          </p:cNvPr>
          <p:cNvSpPr txBox="1"/>
          <p:nvPr/>
        </p:nvSpPr>
        <p:spPr>
          <a:xfrm>
            <a:off x="470019" y="2307364"/>
            <a:ext cx="34097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Sin EF Core</a:t>
            </a:r>
            <a:endParaRPr lang="en-GB" dirty="0"/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F2943B93-8E7E-4D38-AA49-831A810E2D96}"/>
              </a:ext>
            </a:extLst>
          </p:cNvPr>
          <p:cNvSpPr txBox="1"/>
          <p:nvPr/>
        </p:nvSpPr>
        <p:spPr>
          <a:xfrm>
            <a:off x="8399091" y="2320238"/>
            <a:ext cx="34097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Usando EF C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4506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7D703F6-2A4D-4851-A0AE-44CC733402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7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7D703F6-2A4D-4851-A0AE-44CC733402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ítulo 5">
            <a:extLst>
              <a:ext uri="{FF2B5EF4-FFF2-40B4-BE49-F238E27FC236}">
                <a16:creationId xmlns:a16="http://schemas.microsoft.com/office/drawing/2014/main" id="{174D0448-2934-48FA-837C-F89B4DF6CC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93C90456-F33E-4D7F-B9F8-74C22695B941}"/>
              </a:ext>
            </a:extLst>
          </p:cNvPr>
          <p:cNvSpPr/>
          <p:nvPr/>
        </p:nvSpPr>
        <p:spPr>
          <a:xfrm>
            <a:off x="1589" y="0"/>
            <a:ext cx="12188825" cy="1772816"/>
          </a:xfrm>
          <a:prstGeom prst="rect">
            <a:avLst/>
          </a:prstGeom>
          <a:solidFill>
            <a:srgbClr val="68217A"/>
          </a:solidFill>
          <a:ln>
            <a:solidFill>
              <a:srgbClr val="6821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/>
              <a:t>¿Qué es </a:t>
            </a:r>
            <a:r>
              <a:rPr lang="es-ES" sz="3600" dirty="0" err="1"/>
              <a:t>Entity</a:t>
            </a:r>
            <a:r>
              <a:rPr lang="es-ES" sz="3600" dirty="0"/>
              <a:t> Framework Core?</a:t>
            </a:r>
            <a:endParaRPr lang="es-CL" sz="3600" dirty="0"/>
          </a:p>
        </p:txBody>
      </p:sp>
      <p:sp>
        <p:nvSpPr>
          <p:cNvPr id="13" name="Rectángulo: esquinas redondeadas 12">
            <a:extLst>
              <a:ext uri="{FF2B5EF4-FFF2-40B4-BE49-F238E27FC236}">
                <a16:creationId xmlns:a16="http://schemas.microsoft.com/office/drawing/2014/main" id="{1A194F66-E6C2-4921-921D-D7741E2D8677}"/>
              </a:ext>
            </a:extLst>
          </p:cNvPr>
          <p:cNvSpPr/>
          <p:nvPr/>
        </p:nvSpPr>
        <p:spPr>
          <a:xfrm>
            <a:off x="358706" y="2609299"/>
            <a:ext cx="2304256" cy="1152128"/>
          </a:xfrm>
          <a:prstGeom prst="roundRect">
            <a:avLst/>
          </a:prstGeom>
          <a:solidFill>
            <a:schemeClr val="bg1"/>
          </a:solidFill>
          <a:ln>
            <a:solidFill>
              <a:srgbClr val="6821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>
                <a:solidFill>
                  <a:srgbClr val="68217A"/>
                </a:solidFill>
              </a:rPr>
              <a:t>Entidades </a:t>
            </a:r>
            <a:endParaRPr lang="es-CL" dirty="0">
              <a:solidFill>
                <a:srgbClr val="68217A"/>
              </a:solidFill>
            </a:endParaRPr>
          </a:p>
        </p:txBody>
      </p:sp>
      <p:cxnSp>
        <p:nvCxnSpPr>
          <p:cNvPr id="15" name="Conector recto de flecha 14">
            <a:extLst>
              <a:ext uri="{FF2B5EF4-FFF2-40B4-BE49-F238E27FC236}">
                <a16:creationId xmlns:a16="http://schemas.microsoft.com/office/drawing/2014/main" id="{7BE8364E-A0A0-4789-A1EF-6B2B5A761DBA}"/>
              </a:ext>
            </a:extLst>
          </p:cNvPr>
          <p:cNvCxnSpPr>
            <a:cxnSpLocks/>
          </p:cNvCxnSpPr>
          <p:nvPr/>
        </p:nvCxnSpPr>
        <p:spPr>
          <a:xfrm>
            <a:off x="2662962" y="3168351"/>
            <a:ext cx="1368152" cy="0"/>
          </a:xfrm>
          <a:prstGeom prst="straightConnector1">
            <a:avLst/>
          </a:prstGeom>
          <a:ln>
            <a:solidFill>
              <a:srgbClr val="6821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ilindro 26">
            <a:extLst>
              <a:ext uri="{FF2B5EF4-FFF2-40B4-BE49-F238E27FC236}">
                <a16:creationId xmlns:a16="http://schemas.microsoft.com/office/drawing/2014/main" id="{9F335045-540E-4BB6-A83F-E73FD7166EF1}"/>
              </a:ext>
            </a:extLst>
          </p:cNvPr>
          <p:cNvSpPr/>
          <p:nvPr/>
        </p:nvSpPr>
        <p:spPr>
          <a:xfrm>
            <a:off x="9575731" y="2321267"/>
            <a:ext cx="1393543" cy="1625676"/>
          </a:xfrm>
          <a:prstGeom prst="can">
            <a:avLst/>
          </a:prstGeom>
          <a:noFill/>
          <a:ln>
            <a:solidFill>
              <a:srgbClr val="6821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>
                <a:solidFill>
                  <a:srgbClr val="68217A"/>
                </a:solidFill>
              </a:rPr>
              <a:t>Esquema</a:t>
            </a:r>
            <a:endParaRPr lang="es-CL" dirty="0">
              <a:solidFill>
                <a:srgbClr val="68217A"/>
              </a:solidFill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978EF2FC-157B-4822-B182-3E023A121D6F}"/>
              </a:ext>
            </a:extLst>
          </p:cNvPr>
          <p:cNvSpPr/>
          <p:nvPr/>
        </p:nvSpPr>
        <p:spPr>
          <a:xfrm>
            <a:off x="4295800" y="2492896"/>
            <a:ext cx="3168352" cy="1282418"/>
          </a:xfrm>
          <a:prstGeom prst="rect">
            <a:avLst/>
          </a:prstGeom>
          <a:noFill/>
          <a:ln>
            <a:solidFill>
              <a:srgbClr val="6821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>
                <a:solidFill>
                  <a:srgbClr val="68217A"/>
                </a:solidFill>
              </a:rPr>
              <a:t>EF Core</a:t>
            </a:r>
            <a:endParaRPr lang="es-CL" sz="3600" dirty="0">
              <a:solidFill>
                <a:srgbClr val="68217A"/>
              </a:solidFill>
            </a:endParaRPr>
          </a:p>
        </p:txBody>
      </p:sp>
      <p:cxnSp>
        <p:nvCxnSpPr>
          <p:cNvPr id="16" name="Conector recto de flecha 15">
            <a:extLst>
              <a:ext uri="{FF2B5EF4-FFF2-40B4-BE49-F238E27FC236}">
                <a16:creationId xmlns:a16="http://schemas.microsoft.com/office/drawing/2014/main" id="{A60044A8-EE30-485E-B5CF-AE1C2DF24CAA}"/>
              </a:ext>
            </a:extLst>
          </p:cNvPr>
          <p:cNvCxnSpPr>
            <a:cxnSpLocks/>
          </p:cNvCxnSpPr>
          <p:nvPr/>
        </p:nvCxnSpPr>
        <p:spPr>
          <a:xfrm>
            <a:off x="7464152" y="3171930"/>
            <a:ext cx="1368152" cy="0"/>
          </a:xfrm>
          <a:prstGeom prst="straightConnector1">
            <a:avLst/>
          </a:prstGeom>
          <a:ln>
            <a:solidFill>
              <a:srgbClr val="6821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ilindro 4">
            <a:extLst>
              <a:ext uri="{FF2B5EF4-FFF2-40B4-BE49-F238E27FC236}">
                <a16:creationId xmlns:a16="http://schemas.microsoft.com/office/drawing/2014/main" id="{7F77F3DB-950A-44A0-A68D-49CEB379128A}"/>
              </a:ext>
            </a:extLst>
          </p:cNvPr>
          <p:cNvSpPr/>
          <p:nvPr/>
        </p:nvSpPr>
        <p:spPr>
          <a:xfrm>
            <a:off x="630279" y="4825847"/>
            <a:ext cx="1393543" cy="1625676"/>
          </a:xfrm>
          <a:prstGeom prst="can">
            <a:avLst/>
          </a:prstGeom>
          <a:noFill/>
          <a:ln>
            <a:solidFill>
              <a:srgbClr val="6821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>
                <a:solidFill>
                  <a:srgbClr val="68217A"/>
                </a:solidFill>
              </a:rPr>
              <a:t>Esquema</a:t>
            </a:r>
            <a:endParaRPr lang="es-CL" dirty="0">
              <a:solidFill>
                <a:srgbClr val="68217A"/>
              </a:solidFill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ECD74919-BF30-479D-B204-BF58D9028853}"/>
              </a:ext>
            </a:extLst>
          </p:cNvPr>
          <p:cNvSpPr/>
          <p:nvPr/>
        </p:nvSpPr>
        <p:spPr>
          <a:xfrm>
            <a:off x="4031114" y="5085185"/>
            <a:ext cx="3168352" cy="1282418"/>
          </a:xfrm>
          <a:prstGeom prst="rect">
            <a:avLst/>
          </a:prstGeom>
          <a:noFill/>
          <a:ln>
            <a:solidFill>
              <a:srgbClr val="6821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>
                <a:solidFill>
                  <a:srgbClr val="68217A"/>
                </a:solidFill>
              </a:rPr>
              <a:t>EF Core</a:t>
            </a:r>
            <a:endParaRPr lang="es-CL" sz="3600" dirty="0">
              <a:solidFill>
                <a:srgbClr val="68217A"/>
              </a:solidFill>
            </a:endParaRPr>
          </a:p>
        </p:txBody>
      </p:sp>
      <p:sp>
        <p:nvSpPr>
          <p:cNvPr id="9" name="Rectángulo: esquinas redondeadas 8">
            <a:extLst>
              <a:ext uri="{FF2B5EF4-FFF2-40B4-BE49-F238E27FC236}">
                <a16:creationId xmlns:a16="http://schemas.microsoft.com/office/drawing/2014/main" id="{8FF7B36A-C770-492C-9266-7FDC018B55E6}"/>
              </a:ext>
            </a:extLst>
          </p:cNvPr>
          <p:cNvSpPr/>
          <p:nvPr/>
        </p:nvSpPr>
        <p:spPr>
          <a:xfrm>
            <a:off x="8951650" y="5150330"/>
            <a:ext cx="2304256" cy="1152128"/>
          </a:xfrm>
          <a:prstGeom prst="roundRect">
            <a:avLst/>
          </a:prstGeom>
          <a:solidFill>
            <a:schemeClr val="bg1"/>
          </a:solidFill>
          <a:ln>
            <a:solidFill>
              <a:srgbClr val="6821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>
                <a:solidFill>
                  <a:srgbClr val="68217A"/>
                </a:solidFill>
              </a:rPr>
              <a:t>Entidades</a:t>
            </a:r>
            <a:endParaRPr lang="es-CL" dirty="0">
              <a:solidFill>
                <a:srgbClr val="68217A"/>
              </a:solidFill>
            </a:endParaRPr>
          </a:p>
        </p:txBody>
      </p:sp>
      <p:cxnSp>
        <p:nvCxnSpPr>
          <p:cNvPr id="22" name="Conector recto de flecha 21">
            <a:extLst>
              <a:ext uri="{FF2B5EF4-FFF2-40B4-BE49-F238E27FC236}">
                <a16:creationId xmlns:a16="http://schemas.microsoft.com/office/drawing/2014/main" id="{0915C024-5340-46C5-A6CA-4919BAE12717}"/>
              </a:ext>
            </a:extLst>
          </p:cNvPr>
          <p:cNvCxnSpPr>
            <a:cxnSpLocks/>
          </p:cNvCxnSpPr>
          <p:nvPr/>
        </p:nvCxnSpPr>
        <p:spPr>
          <a:xfrm>
            <a:off x="7171510" y="5791539"/>
            <a:ext cx="1368152" cy="0"/>
          </a:xfrm>
          <a:prstGeom prst="straightConnector1">
            <a:avLst/>
          </a:prstGeom>
          <a:ln>
            <a:solidFill>
              <a:srgbClr val="6821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ector recto de flecha 24">
            <a:extLst>
              <a:ext uri="{FF2B5EF4-FFF2-40B4-BE49-F238E27FC236}">
                <a16:creationId xmlns:a16="http://schemas.microsoft.com/office/drawing/2014/main" id="{78AD401E-A9FA-45FD-9687-7EF2DA50D093}"/>
              </a:ext>
            </a:extLst>
          </p:cNvPr>
          <p:cNvCxnSpPr>
            <a:cxnSpLocks/>
          </p:cNvCxnSpPr>
          <p:nvPr/>
        </p:nvCxnSpPr>
        <p:spPr>
          <a:xfrm>
            <a:off x="2370320" y="5638685"/>
            <a:ext cx="1368152" cy="0"/>
          </a:xfrm>
          <a:prstGeom prst="straightConnector1">
            <a:avLst/>
          </a:prstGeom>
          <a:ln>
            <a:solidFill>
              <a:srgbClr val="6821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6131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7D703F6-2A4D-4851-A0AE-44CC733402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9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7D703F6-2A4D-4851-A0AE-44CC733402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ítulo 5">
            <a:extLst>
              <a:ext uri="{FF2B5EF4-FFF2-40B4-BE49-F238E27FC236}">
                <a16:creationId xmlns:a16="http://schemas.microsoft.com/office/drawing/2014/main" id="{174D0448-2934-48FA-837C-F89B4DF6CC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93C90456-F33E-4D7F-B9F8-74C22695B941}"/>
              </a:ext>
            </a:extLst>
          </p:cNvPr>
          <p:cNvSpPr/>
          <p:nvPr/>
        </p:nvSpPr>
        <p:spPr>
          <a:xfrm>
            <a:off x="1589" y="0"/>
            <a:ext cx="12188825" cy="1772816"/>
          </a:xfrm>
          <a:prstGeom prst="rect">
            <a:avLst/>
          </a:prstGeom>
          <a:solidFill>
            <a:srgbClr val="68217A"/>
          </a:solidFill>
          <a:ln>
            <a:solidFill>
              <a:srgbClr val="6821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/>
              <a:t>Prerrequisitos</a:t>
            </a:r>
            <a:endParaRPr lang="es-CL" sz="3600" dirty="0"/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012051F5-A813-4298-92F8-847E6E515E6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0081" y="2204864"/>
            <a:ext cx="2067213" cy="1676634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id="{44B0ED1E-B9FD-4F1B-9C6A-6E79F84B8C4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8689" y="4437112"/>
            <a:ext cx="2462344" cy="1911150"/>
          </a:xfrm>
          <a:prstGeom prst="rect">
            <a:avLst/>
          </a:prstGeom>
        </p:spPr>
      </p:pic>
      <p:pic>
        <p:nvPicPr>
          <p:cNvPr id="18" name="Imagen 17">
            <a:extLst>
              <a:ext uri="{FF2B5EF4-FFF2-40B4-BE49-F238E27FC236}">
                <a16:creationId xmlns:a16="http://schemas.microsoft.com/office/drawing/2014/main" id="{3A433EDA-120B-4E20-94F9-5825876170F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95800" y="2341463"/>
            <a:ext cx="2362530" cy="790685"/>
          </a:xfrm>
          <a:prstGeom prst="rect">
            <a:avLst/>
          </a:prstGeom>
        </p:spPr>
      </p:pic>
      <p:pic>
        <p:nvPicPr>
          <p:cNvPr id="3" name="Imagen 2">
            <a:extLst>
              <a:ext uri="{FF2B5EF4-FFF2-40B4-BE49-F238E27FC236}">
                <a16:creationId xmlns:a16="http://schemas.microsoft.com/office/drawing/2014/main" id="{70F267AE-0A4B-48DF-B9C2-8AE13BF5621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936710" y="4365105"/>
            <a:ext cx="5443241" cy="1168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1699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7D703F6-2A4D-4851-A0AE-44CC733402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3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7D703F6-2A4D-4851-A0AE-44CC733402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ítulo 5">
            <a:extLst>
              <a:ext uri="{FF2B5EF4-FFF2-40B4-BE49-F238E27FC236}">
                <a16:creationId xmlns:a16="http://schemas.microsoft.com/office/drawing/2014/main" id="{174D0448-2934-48FA-837C-F89B4DF6CC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93C90456-F33E-4D7F-B9F8-74C22695B941}"/>
              </a:ext>
            </a:extLst>
          </p:cNvPr>
          <p:cNvSpPr/>
          <p:nvPr/>
        </p:nvSpPr>
        <p:spPr>
          <a:xfrm>
            <a:off x="1589" y="0"/>
            <a:ext cx="12188825" cy="1772816"/>
          </a:xfrm>
          <a:prstGeom prst="rect">
            <a:avLst/>
          </a:prstGeom>
          <a:solidFill>
            <a:srgbClr val="6821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/>
              <a:t>Modelo</a:t>
            </a:r>
            <a:endParaRPr lang="es-CL" sz="3600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1DCD3937-1406-415B-A5BD-DDBDE020A7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23592" y="2448596"/>
            <a:ext cx="6417347" cy="3140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8175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7D703F6-2A4D-4851-A0AE-44CC733402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7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7D703F6-2A4D-4851-A0AE-44CC733402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ítulo 5">
            <a:extLst>
              <a:ext uri="{FF2B5EF4-FFF2-40B4-BE49-F238E27FC236}">
                <a16:creationId xmlns:a16="http://schemas.microsoft.com/office/drawing/2014/main" id="{174D0448-2934-48FA-837C-F89B4DF6CC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93C90456-F33E-4D7F-B9F8-74C22695B941}"/>
              </a:ext>
            </a:extLst>
          </p:cNvPr>
          <p:cNvSpPr/>
          <p:nvPr/>
        </p:nvSpPr>
        <p:spPr>
          <a:xfrm>
            <a:off x="1589" y="0"/>
            <a:ext cx="12188825" cy="1772816"/>
          </a:xfrm>
          <a:prstGeom prst="rect">
            <a:avLst/>
          </a:prstGeom>
          <a:solidFill>
            <a:srgbClr val="68217A"/>
          </a:solidFill>
          <a:ln>
            <a:solidFill>
              <a:srgbClr val="6821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dirty="0"/>
              <a:t>Creación de modelo</a:t>
            </a:r>
            <a:endParaRPr lang="es-CL" sz="3600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C426DF10-3E10-4C1E-8322-2AA603A2339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8200" y="2273435"/>
            <a:ext cx="10007818" cy="3000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3217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10</TotalTime>
  <Words>389</Words>
  <Application>Microsoft Office PowerPoint</Application>
  <PresentationFormat>Panorámica</PresentationFormat>
  <Paragraphs>114</Paragraphs>
  <Slides>29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9</vt:i4>
      </vt:variant>
    </vt:vector>
  </HeadingPairs>
  <TitlesOfParts>
    <vt:vector size="36" baseType="lpstr">
      <vt:lpstr>Arial</vt:lpstr>
      <vt:lpstr>Calibri</vt:lpstr>
      <vt:lpstr>Calibri Light</vt:lpstr>
      <vt:lpstr>Dosis</vt:lpstr>
      <vt:lpstr>Segoe UI</vt:lpstr>
      <vt:lpstr>Tema de Office</vt:lpstr>
      <vt:lpstr>think-cell Slide</vt:lpstr>
      <vt:lpstr>Presentación de PowerPoint</vt:lpstr>
      <vt:lpstr>Overview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Cristian K. Cárdenas A.</dc:creator>
  <cp:lastModifiedBy>rolando</cp:lastModifiedBy>
  <cp:revision>57</cp:revision>
  <dcterms:created xsi:type="dcterms:W3CDTF">2020-08-05T18:16:05Z</dcterms:created>
  <dcterms:modified xsi:type="dcterms:W3CDTF">2020-11-19T23:37:53Z</dcterms:modified>
</cp:coreProperties>
</file>